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19" r:id="rId2"/>
  </p:sldIdLst>
  <p:sldSz cx="9144000" cy="6858000" type="screen4x3"/>
  <p:notesSz cx="6858000" cy="9144000"/>
  <p:custDataLst>
    <p:tags r:id="rId5"/>
  </p:custDataLst>
  <p:defaultTextStyle>
    <a:lvl1pPr marL="0" algn="l" rtl="0" latinLnBrk="0">
      <a:defRPr lang="de-DE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lang="de-DE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lang="de-DE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lang="de-DE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lang="de-DE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lang="de-DE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lang="de-DE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lang="de-DE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lang="de-DE"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476D"/>
    <a:srgbClr val="FFFFFF"/>
    <a:srgbClr val="003399"/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7802" autoAdjust="0"/>
  </p:normalViewPr>
  <p:slideViewPr>
    <p:cSldViewPr>
      <p:cViewPr varScale="1">
        <p:scale>
          <a:sx n="100" d="100"/>
          <a:sy n="100" d="100"/>
        </p:scale>
        <p:origin x="-294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 latinLnBrk="0">
              <a:defRPr lang="de-DE" sz="1200"/>
            </a:lvl1pPr>
            <a:extLst/>
          </a:lstStyle>
          <a:p>
            <a:endParaRPr lang="de-DE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 latinLnBrk="0">
              <a:defRPr lang="de-DE" sz="1200"/>
            </a:lvl1pPr>
            <a:extLst/>
          </a:lstStyle>
          <a:p>
            <a:fld id="{68F88C59-319B-4332-9A1D-2A62CFCB00D8}" type="datetimeFigureOut">
              <a:rPr lang="de-DE" smtClean="0"/>
              <a:pPr/>
              <a:t>31.01.2017</a:t>
            </a:fld>
            <a:endParaRPr lang="de-DE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 latinLnBrk="0">
              <a:defRPr lang="de-DE" sz="1200"/>
            </a:lvl1pPr>
            <a:extLst/>
          </a:lstStyle>
          <a:p>
            <a:endParaRPr lang="de-DE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 latinLnBrk="0">
              <a:defRPr lang="de-DE" sz="1200"/>
            </a:lvl1pPr>
            <a:extLst/>
          </a:lstStyle>
          <a:p>
            <a:fld id="{B16A41B8-7DC3-4DB6-84E4-E105629EAA3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6110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 latinLnBrk="0">
              <a:defRPr lang="de-DE" sz="1200"/>
            </a:lvl1pPr>
            <a:extLst/>
          </a:lstStyle>
          <a:p>
            <a:endParaRPr lang="de-DE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 latinLnBrk="0">
              <a:defRPr lang="de-DE" sz="1200"/>
            </a:lvl1pPr>
            <a:extLst/>
          </a:lstStyle>
          <a:p>
            <a:fld id="{968B300D-05F0-4B43-940D-46DED5A791AD}" type="datetimeFigureOut">
              <a:pPr/>
              <a:t>31.01.2017</a:t>
            </a:fld>
            <a:endParaRPr lang="de-DE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>
            <a:extLst/>
          </a:lstStyle>
          <a:p>
            <a:endParaRPr lang="de-DE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>
            <a:extLst/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Vierte Ebene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 latinLnBrk="0">
              <a:defRPr lang="de-DE" sz="1200"/>
            </a:lvl1pPr>
            <a:extLst/>
          </a:lstStyle>
          <a:p>
            <a:endParaRPr lang="de-DE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 latinLnBrk="0">
              <a:defRPr lang="de-DE" sz="1200"/>
            </a:lvl1pPr>
            <a:extLst/>
          </a:lstStyle>
          <a:p>
            <a:fld id="{9B26CD33-4337-4529-948A-94F6960B2374}" type="slidenum"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74717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 latinLnBrk="0">
      <a:defRPr lang="de-DE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lang="de-DE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lang="de-DE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lang="de-DE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lang="de-DE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lang="de-DE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lang="de-DE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lang="de-DE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lang="de-DE"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26CD33-4337-4529-948A-94F6960B2374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48891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bum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66165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7"/>
          <p:cNvSpPr>
            <a:spLocks noGrp="1"/>
          </p:cNvSpPr>
          <p:nvPr>
            <p:ph type="title" hasCustomPrompt="1"/>
          </p:nvPr>
        </p:nvSpPr>
        <p:spPr>
          <a:xfrm>
            <a:off x="228601" y="3962400"/>
            <a:ext cx="8298485" cy="1066800"/>
          </a:xfrm>
        </p:spPr>
        <p:txBody>
          <a:bodyPr bIns="0"/>
          <a:lstStyle>
            <a:lvl1pPr algn="r" eaLnBrk="1" latinLnBrk="0" hangingPunct="1">
              <a:defRPr kumimoji="0" lang="de-DE">
                <a:latin typeface="Helvetica" panose="020B0604020202020204" pitchFamily="34" charset="0"/>
                <a:cs typeface="Helvetica" panose="020B0604020202020204" pitchFamily="34" charset="0"/>
              </a:defRPr>
            </a:lvl1pPr>
            <a:extLst/>
          </a:lstStyle>
          <a:p>
            <a:r>
              <a:rPr kumimoji="0" lang="de-DE" dirty="0"/>
              <a:t>Fotoalbumtitel durch Klicken hinzufügen</a:t>
            </a:r>
          </a:p>
        </p:txBody>
      </p:sp>
      <p:sp>
        <p:nvSpPr>
          <p:cNvPr id="30" name="Rectangle 7"/>
          <p:cNvSpPr>
            <a:spLocks/>
          </p:cNvSpPr>
          <p:nvPr/>
        </p:nvSpPr>
        <p:spPr>
          <a:xfrm>
            <a:off x="453736" y="5181600"/>
            <a:ext cx="8229600" cy="1143000"/>
          </a:xfrm>
          <a:prstGeom prst="rect">
            <a:avLst/>
          </a:prstGeom>
        </p:spPr>
        <p:txBody>
          <a:bodyPr vert="horz" anchor="ctr">
            <a:normAutofit/>
          </a:bodyPr>
          <a:lstStyle>
            <a:extLst/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de-DE"/>
            </a:pPr>
            <a:endParaRPr kumimoji="0" lang="de-DE" sz="3200" b="0" i="1" u="none" strike="noStrike" kern="0" cap="none" spc="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" panose="020B0604020202020204" pitchFamily="34" charset="0"/>
              <a:ea typeface="+mj-ea"/>
              <a:cs typeface="Helvetica" panose="020B0604020202020204" pitchFamily="34" charset="0"/>
            </a:endParaRPr>
          </a:p>
        </p:txBody>
      </p:sp>
      <p:sp>
        <p:nvSpPr>
          <p:cNvPr id="9" name="Rectangle 7"/>
          <p:cNvSpPr>
            <a:spLocks noGrp="1"/>
          </p:cNvSpPr>
          <p:nvPr>
            <p:ph type="body" sz="quarter" idx="10" hasCustomPrompt="1"/>
          </p:nvPr>
        </p:nvSpPr>
        <p:spPr>
          <a:xfrm>
            <a:off x="2133600" y="5133975"/>
            <a:ext cx="6386946" cy="1219200"/>
          </a:xfrm>
        </p:spPr>
        <p:txBody>
          <a:bodyPr vert="horz" tIns="0" anchor="t" anchorCtr="0">
            <a:noAutofit/>
          </a:bodyPr>
          <a:lstStyle>
            <a:lvl1pPr marL="0" marR="0" indent="0" algn="r" rtl="0" eaLnBrk="1" latinLnBrk="0" hangingPunct="1">
              <a:spcBef>
                <a:spcPct val="20000"/>
              </a:spcBef>
              <a:buFontTx/>
              <a:buNone/>
              <a:defRPr kumimoji="0" lang="de-DE" sz="1800" i="0" baseline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extLst/>
          </a:lstStyle>
          <a:p>
            <a:pPr lvl="0"/>
            <a:r>
              <a:rPr kumimoji="0" lang="de-DE"/>
              <a:t>Datum und andere Details durch Klicken hinzufügen</a:t>
            </a:r>
          </a:p>
        </p:txBody>
      </p:sp>
      <p:sp>
        <p:nvSpPr>
          <p:cNvPr id="27" name="Rectangle 6"/>
          <p:cNvSpPr>
            <a:spLocks noGrp="1"/>
          </p:cNvSpPr>
          <p:nvPr>
            <p:ph type="pic" sz="quarter" idx="11"/>
          </p:nvPr>
        </p:nvSpPr>
        <p:spPr>
          <a:xfrm>
            <a:off x="6096000" y="1600200"/>
            <a:ext cx="2286000" cy="2286000"/>
          </a:xfr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/>
          <a:lstStyle>
            <a:lvl1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1pPr>
            <a:extLst/>
          </a:lstStyle>
          <a:p>
            <a:pPr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11" name="Rectangle 10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extLst/>
          </a:lstStyle>
          <a:p>
            <a:fld id="{F30C84A2-23CF-44F5-B813-5187ED5C7D1C}" type="datetimeFigureOut">
              <a:rPr kumimoji="0" lang="de-DE" sz="1200">
                <a:solidFill>
                  <a:schemeClr val="tx2"/>
                </a:solidFill>
              </a:rPr>
              <a:pPr/>
              <a:t>31.01.2017</a:t>
            </a:fld>
            <a:endParaRPr kumimoji="0" lang="de-DE"/>
          </a:p>
        </p:txBody>
      </p:sp>
      <p:sp>
        <p:nvSpPr>
          <p:cNvPr id="12" name="Rectangle 1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extLst/>
          </a:lstStyle>
          <a:p>
            <a:pPr algn="r"/>
            <a:fld id="{F99EC173-99AE-4773-AB25-02E469A13EAE}" type="slidenum">
              <a:rPr kumimoji="0" lang="de-DE" sz="1200">
                <a:solidFill>
                  <a:schemeClr val="tx2"/>
                </a:solidFill>
              </a:rPr>
              <a:pPr algn="r"/>
              <a:t>‹Nr.›</a:t>
            </a:fld>
            <a:endParaRPr kumimoji="0" lang="de-DE"/>
          </a:p>
        </p:txBody>
      </p:sp>
      <p:sp>
        <p:nvSpPr>
          <p:cNvPr id="13" name="Rectangle 1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extLst/>
          </a:lstStyle>
          <a:p>
            <a:endParaRPr kumimoji="0" lang="de-DE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, Querformat mit Überschri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91916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7"/>
          <p:cNvSpPr>
            <a:spLocks noGrp="1" noChangeAspect="1"/>
          </p:cNvSpPr>
          <p:nvPr>
            <p:ph type="pic" sz="quarter" idx="11"/>
          </p:nvPr>
        </p:nvSpPr>
        <p:spPr>
          <a:xfrm>
            <a:off x="4663440" y="3403823"/>
            <a:ext cx="4023360" cy="3017520"/>
          </a:xfrm>
          <a:prstGeom prst="rect">
            <a:avLst/>
          </a:prstGeom>
          <a:noFill/>
          <a:ln w="38100" cap="sq" cmpd="sng" algn="ctr">
            <a:solidFill>
              <a:srgbClr val="FFFFFF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26" name="Rectangle 7"/>
          <p:cNvSpPr>
            <a:spLocks noGrp="1" noChangeAspect="1"/>
          </p:cNvSpPr>
          <p:nvPr>
            <p:ph type="pic" sz="quarter" idx="13"/>
          </p:nvPr>
        </p:nvSpPr>
        <p:spPr>
          <a:xfrm>
            <a:off x="4663440" y="228600"/>
            <a:ext cx="4023360" cy="3017520"/>
          </a:xfrm>
          <a:prstGeom prst="rect">
            <a:avLst/>
          </a:prstGeom>
          <a:noFill/>
          <a:ln w="38100" cap="sq" cmpd="sng" algn="ctr">
            <a:solidFill>
              <a:srgbClr val="FFFFFF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27" name="Rectangle 11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28600"/>
            <a:ext cx="4023360" cy="3017520"/>
          </a:xfrm>
          <a:solidFill>
            <a:srgbClr val="FFFFFF"/>
          </a:solidFill>
        </p:spPr>
        <p:txBody>
          <a:bodyPr anchor="b" anchorCtr="0">
            <a:noAutofit/>
          </a:bodyPr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kumimoji="0" lang="de-DE" sz="1800" i="0" baseline="0">
                <a:solidFill>
                  <a:srgbClr val="43476D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extLst/>
          </a:lstStyle>
          <a:p>
            <a:pPr lvl="0"/>
            <a:r>
              <a:rPr kumimoji="0" lang="de-DE"/>
              <a:t>Überschrift durch Klicken hinzufügen</a:t>
            </a:r>
          </a:p>
        </p:txBody>
      </p:sp>
      <p:sp>
        <p:nvSpPr>
          <p:cNvPr id="6" name="Rectangle 5"/>
          <p:cNvSpPr>
            <a:spLocks noGrp="1"/>
          </p:cNvSpPr>
          <p:nvPr>
            <p:ph type="dt" sz="half" idx="15"/>
          </p:nvPr>
        </p:nvSpPr>
        <p:spPr>
          <a:noFill/>
        </p:spPr>
        <p:txBody>
          <a:bodyPr/>
          <a:lstStyle>
            <a:extLst/>
          </a:lstStyle>
          <a:p>
            <a:fld id="{F30C84A2-23CF-44F5-B813-5187ED5C7D1C}" type="datetimeFigureOut">
              <a:rPr kumimoji="0" lang="de-DE" sz="1200">
                <a:solidFill>
                  <a:schemeClr val="tx2"/>
                </a:solidFill>
              </a:rPr>
              <a:pPr/>
              <a:t>31.01.2017</a:t>
            </a:fld>
            <a:endParaRPr kumimoji="0" lang="de-DE"/>
          </a:p>
        </p:txBody>
      </p:sp>
      <p:sp>
        <p:nvSpPr>
          <p:cNvPr id="7" name="Rectangle 6"/>
          <p:cNvSpPr>
            <a:spLocks noGrp="1"/>
          </p:cNvSpPr>
          <p:nvPr>
            <p:ph type="sldNum" sz="quarter" idx="16"/>
          </p:nvPr>
        </p:nvSpPr>
        <p:spPr>
          <a:ln>
            <a:solidFill>
              <a:srgbClr val="FFFFFF"/>
            </a:solidFill>
          </a:ln>
        </p:spPr>
        <p:txBody>
          <a:bodyPr/>
          <a:lstStyle>
            <a:extLst/>
          </a:lstStyle>
          <a:p>
            <a:pPr algn="r"/>
            <a:fld id="{F99EC173-99AE-4773-AB25-02E469A13EAE}" type="slidenum">
              <a:rPr kumimoji="0" lang="de-DE" sz="1200">
                <a:solidFill>
                  <a:schemeClr val="tx2"/>
                </a:solidFill>
              </a:rPr>
              <a:pPr algn="r"/>
              <a:t>‹Nr.›</a:t>
            </a:fld>
            <a:endParaRPr kumimoji="0" lang="de-DE"/>
          </a:p>
        </p:txBody>
      </p:sp>
      <p:sp>
        <p:nvSpPr>
          <p:cNvPr id="8" name="Rectangle 7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extLst/>
          </a:lstStyle>
          <a:p>
            <a:endParaRPr kumimoji="0" lang="de-DE"/>
          </a:p>
        </p:txBody>
      </p:sp>
      <p:sp>
        <p:nvSpPr>
          <p:cNvPr id="11" name="Rectangle 11"/>
          <p:cNvSpPr>
            <a:spLocks noGrp="1"/>
          </p:cNvSpPr>
          <p:nvPr>
            <p:ph type="body" sz="quarter" idx="18" hasCustomPrompt="1"/>
          </p:nvPr>
        </p:nvSpPr>
        <p:spPr>
          <a:xfrm>
            <a:off x="467544" y="3356992"/>
            <a:ext cx="4023360" cy="3017520"/>
          </a:xfrm>
          <a:solidFill>
            <a:srgbClr val="FFFFFF"/>
          </a:solidFill>
        </p:spPr>
        <p:txBody>
          <a:bodyPr anchor="b" anchorCtr="0">
            <a:noAutofit/>
          </a:bodyPr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kumimoji="0" lang="de-DE" sz="1800" i="0" baseline="0">
                <a:solidFill>
                  <a:srgbClr val="43476D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extLst/>
          </a:lstStyle>
          <a:p>
            <a:pPr lvl="0"/>
            <a:r>
              <a:rPr kumimoji="0" lang="de-DE"/>
              <a:t>Überschrift durch Klicken hinzufügen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, gemisc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61363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>
            <a:spLocks noGrp="1" noChangeAspect="1"/>
          </p:cNvSpPr>
          <p:nvPr>
            <p:ph type="pic" sz="quarter" idx="11"/>
          </p:nvPr>
        </p:nvSpPr>
        <p:spPr>
          <a:xfrm>
            <a:off x="5067300" y="3436620"/>
            <a:ext cx="3649900" cy="2889504"/>
          </a:xfrm>
          <a:noFill/>
          <a:ln w="38100" cap="sq" cmpd="sng" algn="ctr">
            <a:solidFill>
              <a:srgbClr val="43476D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1588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29" name="Rectangle 7"/>
          <p:cNvSpPr>
            <a:spLocks noGrp="1" noChangeAspect="1"/>
          </p:cNvSpPr>
          <p:nvPr>
            <p:ph type="pic" sz="quarter" idx="12"/>
          </p:nvPr>
        </p:nvSpPr>
        <p:spPr>
          <a:xfrm>
            <a:off x="426720" y="384048"/>
            <a:ext cx="4457700" cy="5943600"/>
          </a:xfrm>
          <a:noFill/>
          <a:ln w="38100" cap="sq" cmpd="sng" algn="ctr">
            <a:solidFill>
              <a:srgbClr val="43476D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1588" algn="ctr" eaLnBrk="1" latinLnBrk="0" hangingPunct="1"/>
            <a:r>
              <a:rPr lang="de-DE" dirty="0" smtClean="0"/>
              <a:t>Bild durch Klicken auf Symbol hinzufügen</a:t>
            </a:r>
            <a:endParaRPr dirty="0"/>
          </a:p>
        </p:txBody>
      </p:sp>
      <p:sp>
        <p:nvSpPr>
          <p:cNvPr id="10" name="Rectangle 7"/>
          <p:cNvSpPr>
            <a:spLocks noGrp="1" noChangeAspect="1"/>
          </p:cNvSpPr>
          <p:nvPr>
            <p:ph type="pic" sz="quarter" idx="13"/>
          </p:nvPr>
        </p:nvSpPr>
        <p:spPr>
          <a:xfrm>
            <a:off x="5067300" y="389332"/>
            <a:ext cx="3657600" cy="2887269"/>
          </a:xfrm>
          <a:noFill/>
          <a:ln w="38100" cap="sq" cmpd="sng" algn="ctr">
            <a:solidFill>
              <a:srgbClr val="43476D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1588" algn="ctr" eaLnBrk="1" latinLnBrk="0" hangingPunct="1"/>
            <a:r>
              <a:rPr lang="de-DE" dirty="0" smtClean="0"/>
              <a:t>Bild durch Klicken auf Symbol hinzufügen</a:t>
            </a:r>
            <a:endParaRPr dirty="0"/>
          </a:p>
        </p:txBody>
      </p:sp>
      <p:sp>
        <p:nvSpPr>
          <p:cNvPr id="5" name="Rectangle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extLst/>
          </a:lstStyle>
          <a:p>
            <a:fld id="{F30C84A2-23CF-44F5-B813-5187ED5C7D1C}" type="datetimeFigureOut">
              <a:rPr kumimoji="0" lang="de-DE" sz="1200">
                <a:solidFill>
                  <a:schemeClr val="tx2"/>
                </a:solidFill>
              </a:rPr>
              <a:pPr/>
              <a:t>31.01.2017</a:t>
            </a:fld>
            <a:endParaRPr kumimoji="0" lang="de-DE"/>
          </a:p>
        </p:txBody>
      </p:sp>
      <p:sp>
        <p:nvSpPr>
          <p:cNvPr id="6" name="Rectangle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extLst/>
          </a:lstStyle>
          <a:p>
            <a:pPr algn="r"/>
            <a:fld id="{F99EC173-99AE-4773-AB25-02E469A13EAE}" type="slidenum">
              <a:rPr kumimoji="0" lang="de-DE" sz="1200">
                <a:solidFill>
                  <a:schemeClr val="tx2"/>
                </a:solidFill>
              </a:rPr>
              <a:pPr algn="r"/>
              <a:t>‹Nr.›</a:t>
            </a:fld>
            <a:endParaRPr kumimoji="0" lang="de-DE"/>
          </a:p>
        </p:txBody>
      </p:sp>
      <p:sp>
        <p:nvSpPr>
          <p:cNvPr id="8" name="Rectangle 7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extLst/>
          </a:lstStyle>
          <a:p>
            <a:endParaRPr kumimoji="0" lang="de-DE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4, Hochformat mit Überschrifte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387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7"/>
          <p:cNvSpPr>
            <a:spLocks noGrp="1"/>
          </p:cNvSpPr>
          <p:nvPr>
            <p:ph type="pic" sz="quarter" idx="14"/>
          </p:nvPr>
        </p:nvSpPr>
        <p:spPr>
          <a:xfrm>
            <a:off x="2229297" y="228600"/>
            <a:ext cx="2285214" cy="29718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3" name="Rectangle 7"/>
          <p:cNvSpPr>
            <a:spLocks noGrp="1"/>
          </p:cNvSpPr>
          <p:nvPr>
            <p:ph type="pic" sz="quarter" idx="26"/>
          </p:nvPr>
        </p:nvSpPr>
        <p:spPr>
          <a:xfrm>
            <a:off x="2229297" y="3365392"/>
            <a:ext cx="2285214" cy="29718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10" name="Rectangle 7"/>
          <p:cNvSpPr>
            <a:spLocks noGrp="1" noChangeAspect="1"/>
          </p:cNvSpPr>
          <p:nvPr>
            <p:ph type="pic" sz="quarter" idx="25"/>
          </p:nvPr>
        </p:nvSpPr>
        <p:spPr>
          <a:xfrm>
            <a:off x="4672217" y="228600"/>
            <a:ext cx="2286000" cy="29718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27" name="Rectangle 7"/>
          <p:cNvSpPr>
            <a:spLocks noGrp="1"/>
          </p:cNvSpPr>
          <p:nvPr>
            <p:ph type="pic" sz="quarter" idx="27"/>
          </p:nvPr>
        </p:nvSpPr>
        <p:spPr>
          <a:xfrm>
            <a:off x="4667697" y="3365392"/>
            <a:ext cx="2285214" cy="29718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6" name="Rectangle 7"/>
          <p:cNvSpPr>
            <a:spLocks noGrp="1"/>
          </p:cNvSpPr>
          <p:nvPr>
            <p:ph type="body" sz="quarter" idx="16" hasCustomPrompt="1"/>
          </p:nvPr>
        </p:nvSpPr>
        <p:spPr>
          <a:xfrm>
            <a:off x="400497" y="188640"/>
            <a:ext cx="1676400" cy="3011760"/>
          </a:xfrm>
        </p:spPr>
        <p:txBody>
          <a:bodyPr anchor="b" anchorCtr="0">
            <a:noAutofit/>
          </a:bodyPr>
          <a:lstStyle>
            <a:lvl1pPr marL="0" marR="0" indent="0" algn="r" rtl="0" eaLnBrk="1" latinLnBrk="0" hangingPunct="1">
              <a:spcBef>
                <a:spcPct val="20000"/>
              </a:spcBef>
              <a:buFontTx/>
              <a:buNone/>
              <a:defRPr kumimoji="0" lang="de-D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kumimoji="0" lang="de-DE"/>
              <a:t>Überschrift durch Klicken hinzufügen</a:t>
            </a:r>
          </a:p>
        </p:txBody>
      </p:sp>
      <p:sp>
        <p:nvSpPr>
          <p:cNvPr id="14" name="Rectangle 7"/>
          <p:cNvSpPr>
            <a:spLocks noGrp="1"/>
          </p:cNvSpPr>
          <p:nvPr>
            <p:ph type="body" sz="quarter" idx="29" hasCustomPrompt="1"/>
          </p:nvPr>
        </p:nvSpPr>
        <p:spPr>
          <a:xfrm>
            <a:off x="7086600" y="188640"/>
            <a:ext cx="1676400" cy="3011760"/>
          </a:xfrm>
        </p:spPr>
        <p:txBody>
          <a:bodyPr anchor="b" anchorCtr="0"/>
          <a:lstStyle>
            <a:lvl1pPr marL="0" marR="0" indent="0" algn="l" eaLnBrk="1" latinLnBrk="0" hangingPunct="1">
              <a:buFontTx/>
              <a:buNone/>
              <a:defRPr kumimoji="0" lang="de-DE" sz="1600" baseline="0"/>
            </a:lvl1pPr>
            <a:extLst/>
          </a:lstStyle>
          <a:p>
            <a:pPr lvl="0"/>
            <a:r>
              <a:rPr kumimoji="0" lang="de-DE"/>
              <a:t>Überschrift durch Klicken hinzufügen</a:t>
            </a:r>
          </a:p>
        </p:txBody>
      </p:sp>
      <p:sp>
        <p:nvSpPr>
          <p:cNvPr id="4" name="Rectangle 7"/>
          <p:cNvSpPr>
            <a:spLocks noGrp="1"/>
          </p:cNvSpPr>
          <p:nvPr>
            <p:ph type="body" sz="quarter" idx="28" hasCustomPrompt="1"/>
          </p:nvPr>
        </p:nvSpPr>
        <p:spPr>
          <a:xfrm>
            <a:off x="400497" y="3352800"/>
            <a:ext cx="1676400" cy="3028528"/>
          </a:xfrm>
        </p:spPr>
        <p:txBody>
          <a:bodyPr anchor="t" anchorCtr="0"/>
          <a:lstStyle>
            <a:lvl1pPr marL="0" marR="0" indent="0" algn="r" eaLnBrk="1" latinLnBrk="0" hangingPunct="1">
              <a:buFontTx/>
              <a:buNone/>
              <a:defRPr kumimoji="0" lang="de-DE" sz="1600" baseline="0"/>
            </a:lvl1pPr>
            <a:extLst/>
          </a:lstStyle>
          <a:p>
            <a:pPr lvl="0"/>
            <a:r>
              <a:rPr kumimoji="0" lang="de-DE"/>
              <a:t>Überschrift durch Klicken hinzufügen</a:t>
            </a:r>
          </a:p>
        </p:txBody>
      </p:sp>
      <p:sp>
        <p:nvSpPr>
          <p:cNvPr id="13" name="Rectangle 7"/>
          <p:cNvSpPr>
            <a:spLocks noGrp="1"/>
          </p:cNvSpPr>
          <p:nvPr>
            <p:ph type="body" sz="quarter" idx="30" hasCustomPrompt="1"/>
          </p:nvPr>
        </p:nvSpPr>
        <p:spPr>
          <a:xfrm>
            <a:off x="7086600" y="3352800"/>
            <a:ext cx="1676400" cy="3028528"/>
          </a:xfrm>
        </p:spPr>
        <p:txBody>
          <a:bodyPr anchor="t" anchorCtr="0"/>
          <a:lstStyle>
            <a:lvl1pPr marL="0" marR="0" indent="0" algn="l" eaLnBrk="1" latinLnBrk="0" hangingPunct="1">
              <a:buFontTx/>
              <a:buNone/>
              <a:defRPr kumimoji="0" lang="de-DE" sz="1600" baseline="0"/>
            </a:lvl1pPr>
            <a:extLst/>
          </a:lstStyle>
          <a:p>
            <a:pPr lvl="0"/>
            <a:r>
              <a:rPr kumimoji="0" lang="de-DE"/>
              <a:t>Überschrift durch Klicken hinzufügen</a:t>
            </a:r>
          </a:p>
        </p:txBody>
      </p:sp>
      <p:sp>
        <p:nvSpPr>
          <p:cNvPr id="11" name="Rectangle 10"/>
          <p:cNvSpPr>
            <a:spLocks noGrp="1"/>
          </p:cNvSpPr>
          <p:nvPr>
            <p:ph type="dt" sz="half" idx="31"/>
          </p:nvPr>
        </p:nvSpPr>
        <p:spPr/>
        <p:txBody>
          <a:bodyPr/>
          <a:lstStyle>
            <a:extLst/>
          </a:lstStyle>
          <a:p>
            <a:fld id="{F30C84A2-23CF-44F5-B813-5187ED5C7D1C}" type="datetimeFigureOut">
              <a:rPr kumimoji="0" lang="de-DE" sz="1200">
                <a:solidFill>
                  <a:schemeClr val="tx2"/>
                </a:solidFill>
              </a:rPr>
              <a:pPr/>
              <a:t>31.01.2017</a:t>
            </a:fld>
            <a:endParaRPr kumimoji="0" lang="de-DE"/>
          </a:p>
        </p:txBody>
      </p:sp>
      <p:sp>
        <p:nvSpPr>
          <p:cNvPr id="12" name="Rectangle 11"/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extLst/>
          </a:lstStyle>
          <a:p>
            <a:pPr algn="r"/>
            <a:fld id="{F99EC173-99AE-4773-AB25-02E469A13EAE}" type="slidenum">
              <a:rPr kumimoji="0" lang="de-DE" sz="1200">
                <a:solidFill>
                  <a:schemeClr val="tx2"/>
                </a:solidFill>
              </a:rPr>
              <a:pPr algn="r"/>
              <a:t>‹Nr.›</a:t>
            </a:fld>
            <a:endParaRPr kumimoji="0" lang="de-DE"/>
          </a:p>
        </p:txBody>
      </p:sp>
      <p:sp>
        <p:nvSpPr>
          <p:cNvPr id="15" name="Rectangle 14"/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extLst/>
          </a:lstStyle>
          <a:p>
            <a:endParaRPr kumimoji="0" lang="de-DE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4, Querformat mit Überschri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8957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7"/>
          <p:cNvSpPr>
            <a:spLocks noGrp="1"/>
          </p:cNvSpPr>
          <p:nvPr>
            <p:ph type="pic" sz="quarter" idx="14"/>
          </p:nvPr>
        </p:nvSpPr>
        <p:spPr>
          <a:xfrm>
            <a:off x="926821" y="533400"/>
            <a:ext cx="3653297" cy="2743200"/>
          </a:xfrm>
          <a:prstGeom prst="rect">
            <a:avLst/>
          </a:prstGeom>
          <a:noFill/>
          <a:ln w="38100" cap="sq" cmpd="sng" algn="ctr">
            <a:solidFill>
              <a:srgbClr val="43476D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8" name="Rectangle 7"/>
          <p:cNvSpPr>
            <a:spLocks noGrp="1"/>
          </p:cNvSpPr>
          <p:nvPr>
            <p:ph type="body" sz="quarter" idx="16" hasCustomPrompt="1"/>
          </p:nvPr>
        </p:nvSpPr>
        <p:spPr>
          <a:xfrm>
            <a:off x="926821" y="6172200"/>
            <a:ext cx="3657600" cy="304800"/>
          </a:xfrm>
        </p:spPr>
        <p:txBody>
          <a:bodyPr lIns="9144" anchor="t" anchorCtr="0"/>
          <a:lstStyle>
            <a:lvl1pPr marL="0" marR="0" indent="0" algn="l" eaLnBrk="1" latinLnBrk="0" hangingPunct="1">
              <a:buFontTx/>
              <a:buNone/>
              <a:defRPr kumimoji="0" lang="de-DE" sz="1600" baseline="0"/>
            </a:lvl1pPr>
            <a:extLst/>
          </a:lstStyle>
          <a:p>
            <a:pPr lvl="0"/>
            <a:r>
              <a:rPr kumimoji="0" lang="de-DE"/>
              <a:t>Beschriftung durch Klicken hinzufügen</a:t>
            </a:r>
          </a:p>
        </p:txBody>
      </p:sp>
      <p:sp>
        <p:nvSpPr>
          <p:cNvPr id="9" name="Rectangle 7"/>
          <p:cNvSpPr>
            <a:spLocks noGrp="1"/>
          </p:cNvSpPr>
          <p:nvPr>
            <p:ph type="pic" sz="quarter" idx="17"/>
          </p:nvPr>
        </p:nvSpPr>
        <p:spPr>
          <a:xfrm>
            <a:off x="4660621" y="533400"/>
            <a:ext cx="3657600" cy="2743200"/>
          </a:xfrm>
          <a:prstGeom prst="rect">
            <a:avLst/>
          </a:prstGeom>
          <a:noFill/>
          <a:ln w="38100" cap="sq" cmpd="sng" algn="ctr">
            <a:solidFill>
              <a:srgbClr val="43476D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6" name="Rectangle 7"/>
          <p:cNvSpPr>
            <a:spLocks noGrp="1"/>
          </p:cNvSpPr>
          <p:nvPr>
            <p:ph type="pic" sz="quarter" idx="18"/>
          </p:nvPr>
        </p:nvSpPr>
        <p:spPr>
          <a:xfrm>
            <a:off x="926821" y="3352800"/>
            <a:ext cx="3657600" cy="2743200"/>
          </a:xfrm>
          <a:prstGeom prst="rect">
            <a:avLst/>
          </a:prstGeom>
          <a:noFill/>
          <a:ln w="38100" cap="sq" cmpd="sng" algn="ctr">
            <a:solidFill>
              <a:srgbClr val="43476D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14" name="Rectangle 7"/>
          <p:cNvSpPr>
            <a:spLocks noGrp="1"/>
          </p:cNvSpPr>
          <p:nvPr>
            <p:ph type="pic" sz="quarter" idx="19"/>
          </p:nvPr>
        </p:nvSpPr>
        <p:spPr>
          <a:xfrm>
            <a:off x="4660621" y="3352800"/>
            <a:ext cx="3657600" cy="2743200"/>
          </a:xfrm>
          <a:prstGeom prst="rect">
            <a:avLst/>
          </a:prstGeom>
          <a:noFill/>
          <a:ln w="38100" cap="sq" cmpd="sng" algn="ctr">
            <a:solidFill>
              <a:srgbClr val="43476D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4" name="Rectangle 7"/>
          <p:cNvSpPr>
            <a:spLocks noGrp="1"/>
          </p:cNvSpPr>
          <p:nvPr>
            <p:ph type="body" sz="quarter" idx="22" hasCustomPrompt="1"/>
          </p:nvPr>
        </p:nvSpPr>
        <p:spPr>
          <a:xfrm>
            <a:off x="926821" y="152400"/>
            <a:ext cx="3657600" cy="304800"/>
          </a:xfrm>
        </p:spPr>
        <p:txBody>
          <a:bodyPr lIns="9144" anchor="t" anchorCtr="0"/>
          <a:lstStyle>
            <a:lvl1pPr marL="0" marR="0" indent="0" algn="l" eaLnBrk="1" latinLnBrk="0" hangingPunct="1">
              <a:buFontTx/>
              <a:buNone/>
              <a:defRPr kumimoji="0" lang="de-DE" sz="1600" baseline="0"/>
            </a:lvl1pPr>
            <a:extLst/>
          </a:lstStyle>
          <a:p>
            <a:pPr lvl="0"/>
            <a:r>
              <a:rPr kumimoji="0" lang="de-DE"/>
              <a:t>Überschrift durch Klicken hinzufügen</a:t>
            </a:r>
          </a:p>
        </p:txBody>
      </p:sp>
      <p:sp>
        <p:nvSpPr>
          <p:cNvPr id="18" name="Rectangle 7"/>
          <p:cNvSpPr>
            <a:spLocks noGrp="1"/>
          </p:cNvSpPr>
          <p:nvPr>
            <p:ph type="body" sz="quarter" idx="23" hasCustomPrompt="1"/>
          </p:nvPr>
        </p:nvSpPr>
        <p:spPr>
          <a:xfrm>
            <a:off x="4660621" y="6172200"/>
            <a:ext cx="3657600" cy="304800"/>
          </a:xfrm>
        </p:spPr>
        <p:txBody>
          <a:bodyPr lIns="9144" anchor="t" anchorCtr="0"/>
          <a:lstStyle>
            <a:lvl1pPr marL="0" marR="0" indent="0" algn="l" eaLnBrk="1" latinLnBrk="0" hangingPunct="1">
              <a:buFontTx/>
              <a:buNone/>
              <a:defRPr kumimoji="0" lang="de-DE" sz="1600" baseline="0"/>
            </a:lvl1pPr>
            <a:extLst/>
          </a:lstStyle>
          <a:p>
            <a:pPr lvl="0"/>
            <a:r>
              <a:rPr kumimoji="0" lang="de-DE"/>
              <a:t>Überschrift durch Klicken hinzufügen</a:t>
            </a:r>
          </a:p>
        </p:txBody>
      </p:sp>
      <p:sp>
        <p:nvSpPr>
          <p:cNvPr id="16" name="Rectangle 7"/>
          <p:cNvSpPr>
            <a:spLocks noGrp="1"/>
          </p:cNvSpPr>
          <p:nvPr>
            <p:ph type="body" sz="quarter" idx="24" hasCustomPrompt="1"/>
          </p:nvPr>
        </p:nvSpPr>
        <p:spPr>
          <a:xfrm>
            <a:off x="4660621" y="152400"/>
            <a:ext cx="3657600" cy="304800"/>
          </a:xfrm>
        </p:spPr>
        <p:txBody>
          <a:bodyPr lIns="9144" anchor="t" anchorCtr="0"/>
          <a:lstStyle>
            <a:lvl1pPr marL="0" marR="0" indent="0" algn="l" eaLnBrk="1" latinLnBrk="0" hangingPunct="1">
              <a:buFontTx/>
              <a:buNone/>
              <a:defRPr kumimoji="0" lang="de-DE" sz="1600" baseline="0"/>
            </a:lvl1pPr>
            <a:extLst/>
          </a:lstStyle>
          <a:p>
            <a:pPr lvl="0"/>
            <a:r>
              <a:rPr kumimoji="0" lang="de-DE"/>
              <a:t>Überschrift durch Klicken hinzufügen</a:t>
            </a:r>
          </a:p>
        </p:txBody>
      </p:sp>
      <p:sp>
        <p:nvSpPr>
          <p:cNvPr id="10" name="Rectangle 9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extLst/>
          </a:lstStyle>
          <a:p>
            <a:fld id="{F30C84A2-23CF-44F5-B813-5187ED5C7D1C}" type="datetimeFigureOut">
              <a:rPr kumimoji="0" lang="de-DE" sz="1200">
                <a:solidFill>
                  <a:schemeClr val="tx2"/>
                </a:solidFill>
              </a:rPr>
              <a:pPr/>
              <a:t>31.01.2017</a:t>
            </a:fld>
            <a:endParaRPr kumimoji="0" lang="de-DE"/>
          </a:p>
        </p:txBody>
      </p:sp>
      <p:sp>
        <p:nvSpPr>
          <p:cNvPr id="11" name="Rectangle 10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extLst/>
          </a:lstStyle>
          <a:p>
            <a:pPr algn="r"/>
            <a:fld id="{F99EC173-99AE-4773-AB25-02E469A13EAE}" type="slidenum">
              <a:rPr kumimoji="0" lang="de-DE" sz="1200">
                <a:solidFill>
                  <a:schemeClr val="tx2"/>
                </a:solidFill>
              </a:rPr>
              <a:pPr algn="r"/>
              <a:t>‹Nr.›</a:t>
            </a:fld>
            <a:endParaRPr kumimoji="0" lang="de-DE"/>
          </a:p>
        </p:txBody>
      </p:sp>
      <p:sp>
        <p:nvSpPr>
          <p:cNvPr id="12" name="Rectangle 11"/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extLst/>
          </a:lstStyle>
          <a:p>
            <a:endParaRPr kumimoji="0" lang="de-DE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4, Hochformat mit großer Überschri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403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7"/>
          <p:cNvSpPr>
            <a:spLocks noGrp="1"/>
          </p:cNvSpPr>
          <p:nvPr>
            <p:ph type="pic" sz="quarter" idx="14"/>
          </p:nvPr>
        </p:nvSpPr>
        <p:spPr>
          <a:xfrm>
            <a:off x="152400" y="1524000"/>
            <a:ext cx="2106985" cy="2809311"/>
          </a:xfrm>
          <a:prstGeom prst="rect">
            <a:avLst/>
          </a:prstGeom>
          <a:noFill/>
          <a:ln w="38100" cap="sq" cmpd="sng" algn="ctr">
            <a:solidFill>
              <a:srgbClr val="FFFFFF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30" name="Rectangle 7"/>
          <p:cNvSpPr>
            <a:spLocks noGrp="1"/>
          </p:cNvSpPr>
          <p:nvPr>
            <p:ph type="pic" sz="quarter" idx="31"/>
          </p:nvPr>
        </p:nvSpPr>
        <p:spPr>
          <a:xfrm>
            <a:off x="4546600" y="1524000"/>
            <a:ext cx="2106985" cy="2809311"/>
          </a:xfrm>
          <a:prstGeom prst="rect">
            <a:avLst/>
          </a:prstGeom>
          <a:noFill/>
          <a:ln w="38100" cap="sq" cmpd="sng" algn="ctr">
            <a:solidFill>
              <a:srgbClr val="FFFFFF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7" name="Rectangle 7"/>
          <p:cNvSpPr>
            <a:spLocks noGrp="1"/>
          </p:cNvSpPr>
          <p:nvPr>
            <p:ph type="pic" sz="quarter" idx="30"/>
          </p:nvPr>
        </p:nvSpPr>
        <p:spPr>
          <a:xfrm>
            <a:off x="2349060" y="1524000"/>
            <a:ext cx="2106985" cy="2809311"/>
          </a:xfrm>
          <a:prstGeom prst="rect">
            <a:avLst/>
          </a:prstGeom>
          <a:noFill/>
          <a:ln w="38100" cap="sq" cmpd="sng" algn="ctr">
            <a:solidFill>
              <a:srgbClr val="FFFFFF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29" name="Rectangle 7"/>
          <p:cNvSpPr>
            <a:spLocks noGrp="1"/>
          </p:cNvSpPr>
          <p:nvPr>
            <p:ph type="pic" sz="quarter" idx="32"/>
          </p:nvPr>
        </p:nvSpPr>
        <p:spPr>
          <a:xfrm>
            <a:off x="6740166" y="1524000"/>
            <a:ext cx="2106985" cy="2809311"/>
          </a:xfrm>
          <a:prstGeom prst="rect">
            <a:avLst/>
          </a:prstGeom>
          <a:noFill/>
          <a:ln w="38100" cap="sq" cmpd="sng" algn="ctr">
            <a:solidFill>
              <a:srgbClr val="FFFFFF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24" name="Rectangle 7"/>
          <p:cNvSpPr>
            <a:spLocks noGrp="1"/>
          </p:cNvSpPr>
          <p:nvPr>
            <p:ph type="body" sz="quarter" idx="29" hasCustomPrompt="1"/>
          </p:nvPr>
        </p:nvSpPr>
        <p:spPr>
          <a:xfrm>
            <a:off x="152400" y="4495800"/>
            <a:ext cx="8763000" cy="1905000"/>
          </a:xfrm>
          <a:solidFill>
            <a:srgbClr val="FFFFFF"/>
          </a:solidFill>
        </p:spPr>
        <p:txBody>
          <a:bodyPr anchor="t" anchorCtr="0">
            <a:normAutofit/>
          </a:bodyPr>
          <a:lstStyle>
            <a:lvl1pPr marL="0" marR="0" indent="0" algn="l" eaLnBrk="1" latinLnBrk="0" hangingPunct="1">
              <a:buFontTx/>
              <a:buNone/>
              <a:defRPr kumimoji="0" lang="de-DE" sz="1800" baseline="0">
                <a:solidFill>
                  <a:srgbClr val="43476D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extLst/>
          </a:lstStyle>
          <a:p>
            <a:pPr lvl="0"/>
            <a:r>
              <a:rPr kumimoji="0" lang="de-DE" dirty="0"/>
              <a:t>Überschrift durch Klicken hinzufügen</a:t>
            </a:r>
          </a:p>
        </p:txBody>
      </p:sp>
      <p:sp>
        <p:nvSpPr>
          <p:cNvPr id="8" name="Rectangle 7"/>
          <p:cNvSpPr>
            <a:spLocks noGrp="1"/>
          </p:cNvSpPr>
          <p:nvPr>
            <p:ph type="dt" sz="half" idx="33"/>
          </p:nvPr>
        </p:nvSpPr>
        <p:spPr/>
        <p:txBody>
          <a:bodyPr/>
          <a:lstStyle>
            <a:extLst/>
          </a:lstStyle>
          <a:p>
            <a:fld id="{F30C84A2-23CF-44F5-B813-5187ED5C7D1C}" type="datetimeFigureOut">
              <a:rPr kumimoji="0" lang="de-DE" sz="1200">
                <a:solidFill>
                  <a:schemeClr val="tx2"/>
                </a:solidFill>
              </a:rPr>
              <a:pPr/>
              <a:t>31.01.2017</a:t>
            </a:fld>
            <a:endParaRPr kumimoji="0" lang="de-DE"/>
          </a:p>
        </p:txBody>
      </p:sp>
      <p:sp>
        <p:nvSpPr>
          <p:cNvPr id="9" name="Rectangle 8"/>
          <p:cNvSpPr>
            <a:spLocks noGrp="1"/>
          </p:cNvSpPr>
          <p:nvPr>
            <p:ph type="sldNum" sz="quarter" idx="34"/>
          </p:nvPr>
        </p:nvSpPr>
        <p:spPr/>
        <p:txBody>
          <a:bodyPr/>
          <a:lstStyle>
            <a:extLst/>
          </a:lstStyle>
          <a:p>
            <a:pPr algn="r"/>
            <a:fld id="{F99EC173-99AE-4773-AB25-02E469A13EAE}" type="slidenum">
              <a:rPr kumimoji="0" lang="de-DE" sz="1200">
                <a:solidFill>
                  <a:schemeClr val="tx2"/>
                </a:solidFill>
              </a:rPr>
              <a:pPr algn="r"/>
              <a:t>‹Nr.›</a:t>
            </a:fld>
            <a:endParaRPr kumimoji="0" lang="de-DE"/>
          </a:p>
        </p:txBody>
      </p:sp>
      <p:sp>
        <p:nvSpPr>
          <p:cNvPr id="10" name="Rectangle 9"/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extLst/>
          </a:lstStyle>
          <a:p>
            <a:endParaRPr kumimoji="0" lang="de-DE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4: 1 Hochformat mit 3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7"/>
          <p:cNvSpPr>
            <a:spLocks noGrp="1"/>
          </p:cNvSpPr>
          <p:nvPr>
            <p:ph type="pic" sz="quarter" idx="14"/>
          </p:nvPr>
        </p:nvSpPr>
        <p:spPr>
          <a:xfrm>
            <a:off x="685800" y="257665"/>
            <a:ext cx="4617720" cy="61722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4" name="Rectangle 7"/>
          <p:cNvSpPr>
            <a:spLocks noGrp="1" noChangeAspect="1"/>
          </p:cNvSpPr>
          <p:nvPr>
            <p:ph type="pic" sz="quarter" idx="18"/>
          </p:nvPr>
        </p:nvSpPr>
        <p:spPr>
          <a:xfrm>
            <a:off x="5788848" y="257665"/>
            <a:ext cx="2438402" cy="18288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6" name="Rectangle 7"/>
          <p:cNvSpPr>
            <a:spLocks noGrp="1" noChangeAspect="1"/>
          </p:cNvSpPr>
          <p:nvPr>
            <p:ph type="pic" sz="quarter" idx="22"/>
          </p:nvPr>
        </p:nvSpPr>
        <p:spPr>
          <a:xfrm>
            <a:off x="5788848" y="2432657"/>
            <a:ext cx="2438402" cy="18288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14" name="Rectangle 7"/>
          <p:cNvSpPr>
            <a:spLocks noGrp="1" noChangeAspect="1"/>
          </p:cNvSpPr>
          <p:nvPr>
            <p:ph type="pic" sz="quarter" idx="23"/>
          </p:nvPr>
        </p:nvSpPr>
        <p:spPr>
          <a:xfrm>
            <a:off x="5788848" y="4607649"/>
            <a:ext cx="2438402" cy="18288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7" name="Rectangle 6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extLst/>
          </a:lstStyle>
          <a:p>
            <a:fld id="{F30C84A2-23CF-44F5-B813-5187ED5C7D1C}" type="datetimeFigureOut">
              <a:rPr kumimoji="0" lang="de-DE" sz="1200">
                <a:solidFill>
                  <a:schemeClr val="tx2"/>
                </a:solidFill>
              </a:rPr>
              <a:pPr/>
              <a:t>31.01.2017</a:t>
            </a:fld>
            <a:endParaRPr kumimoji="0" lang="de-DE"/>
          </a:p>
        </p:txBody>
      </p:sp>
      <p:sp>
        <p:nvSpPr>
          <p:cNvPr id="8" name="Rectangle 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extLst/>
          </a:lstStyle>
          <a:p>
            <a:pPr algn="r"/>
            <a:fld id="{F99EC173-99AE-4773-AB25-02E469A13EAE}" type="slidenum">
              <a:rPr kumimoji="0" lang="de-DE" sz="1200">
                <a:solidFill>
                  <a:schemeClr val="tx2"/>
                </a:solidFill>
              </a:rPr>
              <a:pPr algn="r"/>
              <a:t>‹Nr.›</a:t>
            </a:fld>
            <a:endParaRPr kumimoji="0" lang="de-DE"/>
          </a:p>
        </p:txBody>
      </p:sp>
      <p:sp>
        <p:nvSpPr>
          <p:cNvPr id="9" name="Rectangle 8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extLst/>
          </a:lstStyle>
          <a:p>
            <a:endParaRPr kumimoji="0" lang="de-DE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5: 3 Querformat mit 2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7"/>
          <p:cNvSpPr>
            <a:spLocks noGrp="1"/>
          </p:cNvSpPr>
          <p:nvPr>
            <p:ph type="pic" sz="quarter" idx="14"/>
          </p:nvPr>
        </p:nvSpPr>
        <p:spPr>
          <a:xfrm>
            <a:off x="609600" y="3429000"/>
            <a:ext cx="2070154" cy="29718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27" name="Rectangle 7"/>
          <p:cNvSpPr>
            <a:spLocks noGrp="1"/>
          </p:cNvSpPr>
          <p:nvPr>
            <p:ph type="pic" sz="quarter" idx="17"/>
          </p:nvPr>
        </p:nvSpPr>
        <p:spPr>
          <a:xfrm>
            <a:off x="3033848" y="228600"/>
            <a:ext cx="5562600" cy="417195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31" name="Rectangle 7"/>
          <p:cNvSpPr>
            <a:spLocks noGrp="1"/>
          </p:cNvSpPr>
          <p:nvPr>
            <p:ph type="pic" sz="quarter" idx="26"/>
          </p:nvPr>
        </p:nvSpPr>
        <p:spPr>
          <a:xfrm>
            <a:off x="609600" y="228600"/>
            <a:ext cx="2070154" cy="29718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26" name="Rectangle 7"/>
          <p:cNvSpPr>
            <a:spLocks noGrp="1" noChangeAspect="1"/>
          </p:cNvSpPr>
          <p:nvPr>
            <p:ph type="pic" sz="quarter" idx="27"/>
          </p:nvPr>
        </p:nvSpPr>
        <p:spPr>
          <a:xfrm>
            <a:off x="5943600" y="4495800"/>
            <a:ext cx="2666999" cy="187452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23" name="Rectangle 7"/>
          <p:cNvSpPr>
            <a:spLocks noGrp="1" noChangeAspect="1"/>
          </p:cNvSpPr>
          <p:nvPr>
            <p:ph type="pic" sz="quarter" idx="28"/>
          </p:nvPr>
        </p:nvSpPr>
        <p:spPr>
          <a:xfrm>
            <a:off x="3033848" y="4495800"/>
            <a:ext cx="2757352" cy="187452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7" name="Rectangle 6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extLst/>
          </a:lstStyle>
          <a:p>
            <a:fld id="{F30C84A2-23CF-44F5-B813-5187ED5C7D1C}" type="datetimeFigureOut">
              <a:rPr kumimoji="0" lang="de-DE" sz="1200">
                <a:solidFill>
                  <a:schemeClr val="tx2"/>
                </a:solidFill>
              </a:rPr>
              <a:pPr/>
              <a:t>31.01.2017</a:t>
            </a:fld>
            <a:endParaRPr kumimoji="0" lang="de-DE"/>
          </a:p>
        </p:txBody>
      </p:sp>
      <p:sp>
        <p:nvSpPr>
          <p:cNvPr id="8" name="Rectangle 7"/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extLst/>
          </a:lstStyle>
          <a:p>
            <a:pPr algn="r"/>
            <a:fld id="{F99EC173-99AE-4773-AB25-02E469A13EAE}" type="slidenum">
              <a:rPr kumimoji="0" lang="de-DE" sz="1200">
                <a:solidFill>
                  <a:schemeClr val="tx2"/>
                </a:solidFill>
              </a:rPr>
              <a:pPr algn="r"/>
              <a:t>‹Nr.›</a:t>
            </a:fld>
            <a:endParaRPr kumimoji="0" lang="de-DE"/>
          </a:p>
        </p:txBody>
      </p:sp>
      <p:sp>
        <p:nvSpPr>
          <p:cNvPr id="10" name="Rectangle 9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extLst/>
          </a:lstStyle>
          <a:p>
            <a:endParaRPr kumimoji="0" lang="de-DE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5: 3 Hochformat mit 2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7"/>
          <p:cNvSpPr>
            <a:spLocks noGrp="1"/>
          </p:cNvSpPr>
          <p:nvPr>
            <p:ph type="pic" sz="quarter" idx="26"/>
          </p:nvPr>
        </p:nvSpPr>
        <p:spPr>
          <a:xfrm>
            <a:off x="512134" y="3124200"/>
            <a:ext cx="2606040" cy="32766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23" name="Rectangle 7"/>
          <p:cNvSpPr>
            <a:spLocks noGrp="1"/>
          </p:cNvSpPr>
          <p:nvPr>
            <p:ph type="pic" sz="quarter" idx="29"/>
          </p:nvPr>
        </p:nvSpPr>
        <p:spPr>
          <a:xfrm>
            <a:off x="512134" y="228600"/>
            <a:ext cx="3962400" cy="27432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30" name="Rectangle 7"/>
          <p:cNvSpPr>
            <a:spLocks noGrp="1"/>
          </p:cNvSpPr>
          <p:nvPr>
            <p:ph type="pic" sz="quarter" idx="30"/>
          </p:nvPr>
        </p:nvSpPr>
        <p:spPr>
          <a:xfrm>
            <a:off x="4718374" y="228600"/>
            <a:ext cx="3962400" cy="27432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22" name="Rectangle 7"/>
          <p:cNvSpPr>
            <a:spLocks noGrp="1"/>
          </p:cNvSpPr>
          <p:nvPr>
            <p:ph type="pic" sz="quarter" idx="27"/>
          </p:nvPr>
        </p:nvSpPr>
        <p:spPr>
          <a:xfrm>
            <a:off x="3293434" y="3124200"/>
            <a:ext cx="2606040" cy="32766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31" name="Rectangle 7"/>
          <p:cNvSpPr>
            <a:spLocks noGrp="1"/>
          </p:cNvSpPr>
          <p:nvPr>
            <p:ph type="pic" sz="quarter" idx="28"/>
          </p:nvPr>
        </p:nvSpPr>
        <p:spPr>
          <a:xfrm>
            <a:off x="6074734" y="3124200"/>
            <a:ext cx="2606040" cy="32766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7" name="Rectangle 6"/>
          <p:cNvSpPr>
            <a:spLocks noGrp="1"/>
          </p:cNvSpPr>
          <p:nvPr>
            <p:ph type="dt" sz="half" idx="31"/>
          </p:nvPr>
        </p:nvSpPr>
        <p:spPr/>
        <p:txBody>
          <a:bodyPr/>
          <a:lstStyle>
            <a:extLst/>
          </a:lstStyle>
          <a:p>
            <a:fld id="{F30C84A2-23CF-44F5-B813-5187ED5C7D1C}" type="datetimeFigureOut">
              <a:rPr kumimoji="0" lang="de-DE" sz="1200">
                <a:solidFill>
                  <a:schemeClr val="tx2"/>
                </a:solidFill>
              </a:rPr>
              <a:pPr/>
              <a:t>31.01.2017</a:t>
            </a:fld>
            <a:endParaRPr kumimoji="0" lang="de-DE"/>
          </a:p>
        </p:txBody>
      </p:sp>
      <p:sp>
        <p:nvSpPr>
          <p:cNvPr id="8" name="Rectangle 7"/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extLst/>
          </a:lstStyle>
          <a:p>
            <a:pPr algn="r"/>
            <a:fld id="{F99EC173-99AE-4773-AB25-02E469A13EAE}" type="slidenum">
              <a:rPr kumimoji="0" lang="de-DE" sz="1200">
                <a:solidFill>
                  <a:schemeClr val="tx2"/>
                </a:solidFill>
              </a:rPr>
              <a:pPr algn="r"/>
              <a:t>‹Nr.›</a:t>
            </a:fld>
            <a:endParaRPr kumimoji="0" lang="de-DE"/>
          </a:p>
        </p:txBody>
      </p:sp>
      <p:sp>
        <p:nvSpPr>
          <p:cNvPr id="9" name="Rectangle 8"/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extLst/>
          </a:lstStyle>
          <a:p>
            <a:endParaRPr kumimoji="0" lang="de-DE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dratisch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¥ل云玗İαЂôÁûÂÚ丫:Pïçtúrê Plå¢éhõlðér 表¥鷗字㌍ 表_W 3"/>
          <p:cNvSpPr>
            <a:spLocks noGrp="1" noChangeAspect="1"/>
          </p:cNvSpPr>
          <p:nvPr>
            <p:ph type="pic" sz="quarter" idx="10"/>
          </p:nvPr>
        </p:nvSpPr>
        <p:spPr>
          <a:xfrm>
            <a:off x="3050273" y="1600200"/>
            <a:ext cx="3198127" cy="3200400"/>
          </a:xfr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1588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7" name="W¥ل云玗İαЂÕØÚáÛ丫:Téxt Plàçèhòlðêr 表¥鷗字㌍_W 6"/>
          <p:cNvSpPr>
            <a:spLocks noGrp="1"/>
          </p:cNvSpPr>
          <p:nvPr>
            <p:ph type="body" sz="quarter" idx="15" hasCustomPrompt="1"/>
          </p:nvPr>
        </p:nvSpPr>
        <p:spPr>
          <a:xfrm>
            <a:off x="3048000" y="4876800"/>
            <a:ext cx="3200400" cy="1295400"/>
          </a:xfrm>
        </p:spPr>
        <p:txBody>
          <a:bodyPr tIns="91440" rIns="9144" bIns="91440" anchor="t"/>
          <a:lstStyle>
            <a:lvl1pPr marL="0" marR="0" indent="0" algn="l" eaLnBrk="1" latinLnBrk="0" hangingPunct="1">
              <a:buFontTx/>
              <a:buNone/>
              <a:defRPr kumimoji="0" lang="de-DE" sz="1800" i="0"/>
            </a:lvl1pPr>
            <a:extLst/>
          </a:lstStyle>
          <a:p>
            <a:pPr lvl="0"/>
            <a:r>
              <a:rPr kumimoji="0" lang="de-DE"/>
              <a:t>Überschrift durch Klicken hinzufügen</a:t>
            </a:r>
          </a:p>
        </p:txBody>
      </p:sp>
      <p:sp>
        <p:nvSpPr>
          <p:cNvPr id="5" name="Rectangle 4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extLst/>
          </a:lstStyle>
          <a:p>
            <a:fld id="{F30C84A2-23CF-44F5-B813-5187ED5C7D1C}" type="datetimeFigureOut">
              <a:rPr kumimoji="0" lang="de-DE" sz="1200">
                <a:solidFill>
                  <a:schemeClr val="tx2"/>
                </a:solidFill>
              </a:rPr>
              <a:pPr/>
              <a:t>31.01.2017</a:t>
            </a:fld>
            <a:endParaRPr kumimoji="0" lang="de-DE"/>
          </a:p>
        </p:txBody>
      </p:sp>
      <p:sp>
        <p:nvSpPr>
          <p:cNvPr id="6" name="Rectangle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extLst/>
          </a:lstStyle>
          <a:p>
            <a:pPr algn="r"/>
            <a:fld id="{F99EC173-99AE-4773-AB25-02E469A13EAE}" type="slidenum">
              <a:rPr kumimoji="0" lang="de-DE" sz="1200">
                <a:solidFill>
                  <a:schemeClr val="tx2"/>
                </a:solidFill>
              </a:rPr>
              <a:pPr algn="r"/>
              <a:t>‹Nr.›</a:t>
            </a:fld>
            <a:endParaRPr kumimoji="0" lang="de-DE"/>
          </a:p>
        </p:txBody>
      </p:sp>
      <p:sp>
        <p:nvSpPr>
          <p:cNvPr id="8" name="Rectangle 7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extLst/>
          </a:lstStyle>
          <a:p>
            <a:endParaRPr kumimoji="0" lang="de-DE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, quadratisch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¥ل云玗İαЂôÁûÂÚ丫:Pïçtúrê Plå¢éhõlðér 表¥鷗字㌍ 表_W 3"/>
          <p:cNvSpPr>
            <a:spLocks noGrp="1" noChangeAspect="1"/>
          </p:cNvSpPr>
          <p:nvPr>
            <p:ph type="pic" sz="quarter" idx="10"/>
          </p:nvPr>
        </p:nvSpPr>
        <p:spPr>
          <a:xfrm>
            <a:off x="4955273" y="1371600"/>
            <a:ext cx="3198127" cy="3200400"/>
          </a:xfr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1588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6" name="W¥ل云玗İαЂôÁûÂÚ丫:Pïçtúrê Plå¢éhõlðér 表¥鷗字㌍ 表_W 5"/>
          <p:cNvSpPr>
            <a:spLocks noGrp="1" noChangeAspect="1"/>
          </p:cNvSpPr>
          <p:nvPr>
            <p:ph type="pic" sz="quarter" idx="14"/>
          </p:nvPr>
        </p:nvSpPr>
        <p:spPr>
          <a:xfrm>
            <a:off x="1143000" y="1371600"/>
            <a:ext cx="3198127" cy="3200400"/>
          </a:xfr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1588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7" name="W¥ل云玗İαЂÕØÚáÛ丫:Téxt Plàçèhòlðêr 表¥鷗字㌍_W 6"/>
          <p:cNvSpPr>
            <a:spLocks noGrp="1"/>
          </p:cNvSpPr>
          <p:nvPr>
            <p:ph type="body" sz="quarter" idx="15" hasCustomPrompt="1"/>
          </p:nvPr>
        </p:nvSpPr>
        <p:spPr>
          <a:xfrm>
            <a:off x="4953000" y="4648200"/>
            <a:ext cx="3200400" cy="1295400"/>
          </a:xfrm>
        </p:spPr>
        <p:txBody>
          <a:bodyPr tIns="91440" rIns="9144" bIns="91440" anchor="t"/>
          <a:lstStyle>
            <a:lvl1pPr marL="0" marR="0" indent="0" algn="l" eaLnBrk="1" latinLnBrk="0" hangingPunct="1">
              <a:buFontTx/>
              <a:buNone/>
              <a:defRPr kumimoji="0" lang="de-DE" sz="1800" i="0"/>
            </a:lvl1pPr>
            <a:extLst/>
          </a:lstStyle>
          <a:p>
            <a:pPr lvl="0"/>
            <a:r>
              <a:rPr kumimoji="0" lang="de-DE"/>
              <a:t>Überschrift durch Klicken hinzufügen</a:t>
            </a:r>
          </a:p>
        </p:txBody>
      </p:sp>
      <p:sp>
        <p:nvSpPr>
          <p:cNvPr id="8" name="W¥ل云玗İαЂÕØÚáÛ丫:Téxt Plàçèhòlðêr 表¥鷗字㌍_W 7"/>
          <p:cNvSpPr>
            <a:spLocks noGrp="1"/>
          </p:cNvSpPr>
          <p:nvPr>
            <p:ph type="body" sz="quarter" idx="16" hasCustomPrompt="1"/>
          </p:nvPr>
        </p:nvSpPr>
        <p:spPr>
          <a:xfrm>
            <a:off x="1143000" y="4648200"/>
            <a:ext cx="3200400" cy="1295400"/>
          </a:xfrm>
        </p:spPr>
        <p:txBody>
          <a:bodyPr tIns="91440" rIns="9144" bIns="91440" anchor="t"/>
          <a:lstStyle>
            <a:lvl1pPr marL="0" marR="0" indent="0" algn="l" eaLnBrk="1" latinLnBrk="0" hangingPunct="1">
              <a:buFontTx/>
              <a:buNone/>
              <a:defRPr kumimoji="0" lang="de-DE" sz="1800" i="0"/>
            </a:lvl1pPr>
            <a:extLst/>
          </a:lstStyle>
          <a:p>
            <a:pPr lvl="0"/>
            <a:r>
              <a:rPr kumimoji="0" lang="de-DE"/>
              <a:t>Überschrift durch Klicken hinzufügen</a:t>
            </a:r>
          </a:p>
        </p:txBody>
      </p:sp>
      <p:sp>
        <p:nvSpPr>
          <p:cNvPr id="9" name="Rectangle 8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extLst/>
          </a:lstStyle>
          <a:p>
            <a:fld id="{F30C84A2-23CF-44F5-B813-5187ED5C7D1C}" type="datetimeFigureOut">
              <a:rPr kumimoji="0" lang="de-DE" sz="1200">
                <a:solidFill>
                  <a:schemeClr val="tx2"/>
                </a:solidFill>
              </a:rPr>
              <a:pPr/>
              <a:t>31.01.2017</a:t>
            </a:fld>
            <a:endParaRPr kumimoji="0" lang="de-DE"/>
          </a:p>
        </p:txBody>
      </p:sp>
      <p:sp>
        <p:nvSpPr>
          <p:cNvPr id="10" name="Rectangle 9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extLst/>
          </a:lstStyle>
          <a:p>
            <a:pPr algn="r"/>
            <a:fld id="{F99EC173-99AE-4773-AB25-02E469A13EAE}" type="slidenum">
              <a:rPr kumimoji="0" lang="de-DE" sz="1200">
                <a:solidFill>
                  <a:schemeClr val="tx2"/>
                </a:solidFill>
              </a:rPr>
              <a:pPr algn="r"/>
              <a:t>‹Nr.›</a:t>
            </a:fld>
            <a:endParaRPr kumimoji="0" lang="de-DE"/>
          </a:p>
        </p:txBody>
      </p:sp>
      <p:sp>
        <p:nvSpPr>
          <p:cNvPr id="11" name="Rectangle 10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extLst/>
          </a:lstStyle>
          <a:p>
            <a:endParaRPr kumimoji="0" lang="de-DE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Querforma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1643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>
            <a:spLocks noGrp="1" noChangeAspect="1"/>
          </p:cNvSpPr>
          <p:nvPr>
            <p:ph type="pic" sz="quarter" idx="10"/>
          </p:nvPr>
        </p:nvSpPr>
        <p:spPr>
          <a:xfrm>
            <a:off x="914400" y="294590"/>
            <a:ext cx="7467600" cy="5600700"/>
          </a:xfr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/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1588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7" name="Rectangle 5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6019800"/>
            <a:ext cx="7467600" cy="381000"/>
          </a:xfrm>
        </p:spPr>
        <p:txBody>
          <a:bodyPr rIns="9144" anchor="t" anchorCtr="0">
            <a:noAutofit/>
          </a:bodyPr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kumimoji="0" lang="de-DE" sz="1800" i="0" baseline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extLst/>
          </a:lstStyle>
          <a:p>
            <a:pPr lvl="0"/>
            <a:r>
              <a:rPr kumimoji="0" lang="de-DE" dirty="0"/>
              <a:t>Überschrift durch Klicken hinzufügen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extLst/>
          </a:lstStyle>
          <a:p>
            <a:fld id="{F30C84A2-23CF-44F5-B813-5187ED5C7D1C}" type="datetimeFigureOut">
              <a:rPr kumimoji="0" lang="de-DE" sz="1200">
                <a:solidFill>
                  <a:schemeClr val="tx2"/>
                </a:solidFill>
              </a:rPr>
              <a:pPr/>
              <a:t>31.01.2017</a:t>
            </a:fld>
            <a:endParaRPr kumimoji="0" lang="de-DE"/>
          </a:p>
        </p:txBody>
      </p:sp>
      <p:sp>
        <p:nvSpPr>
          <p:cNvPr id="6" name="Rectangl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extLst/>
          </a:lstStyle>
          <a:p>
            <a:pPr algn="r"/>
            <a:fld id="{F99EC173-99AE-4773-AB25-02E469A13EAE}" type="slidenum">
              <a:rPr kumimoji="0" lang="de-DE" sz="1200">
                <a:solidFill>
                  <a:schemeClr val="tx2"/>
                </a:solidFill>
              </a:rPr>
              <a:pPr algn="r"/>
              <a:t>‹Nr.›</a:t>
            </a:fld>
            <a:endParaRPr kumimoji="0" lang="de-DE"/>
          </a:p>
        </p:txBody>
      </p:sp>
      <p:sp>
        <p:nvSpPr>
          <p:cNvPr id="8" name="Rectangle 7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extLst/>
          </a:lstStyle>
          <a:p>
            <a:endParaRPr kumimoji="0" lang="de-DE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W¥ل云玗İαЂôÁûÂÚ丫:Pïçtúrê Plå¢éhõlðér 表¥鷗字㌍ 表_W 2"/>
          <p:cNvSpPr>
            <a:spLocks noGrp="1"/>
          </p:cNvSpPr>
          <p:nvPr>
            <p:ph type="pic" sz="quarter" idx="30"/>
          </p:nvPr>
        </p:nvSpPr>
        <p:spPr>
          <a:xfrm>
            <a:off x="457200" y="2057400"/>
            <a:ext cx="8229600" cy="27432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4" name="W¥ل云玗İαЂÕØÚáÛ丫:Téxt Plàçèhòlðêr 表¥鷗字㌍_W 3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4876800"/>
            <a:ext cx="8229600" cy="1447800"/>
          </a:xfrm>
        </p:spPr>
        <p:txBody>
          <a:bodyPr tIns="91440" rIns="9144" bIns="91440" anchor="t"/>
          <a:lstStyle>
            <a:lvl1pPr marL="0" marR="0" indent="0" algn="l" eaLnBrk="1" latinLnBrk="0" hangingPunct="1">
              <a:buFontTx/>
              <a:buNone/>
              <a:defRPr kumimoji="0" lang="de-DE" sz="1800" i="0"/>
            </a:lvl1pPr>
            <a:extLst/>
          </a:lstStyle>
          <a:p>
            <a:pPr lvl="0"/>
            <a:r>
              <a:rPr kumimoji="0" lang="de-DE"/>
              <a:t>Überschrift durch Klicken hinzufügen</a:t>
            </a:r>
          </a:p>
        </p:txBody>
      </p:sp>
      <p:sp>
        <p:nvSpPr>
          <p:cNvPr id="5" name="Rectangle 4"/>
          <p:cNvSpPr>
            <a:spLocks noGrp="1"/>
          </p:cNvSpPr>
          <p:nvPr>
            <p:ph type="dt" sz="half" idx="31"/>
          </p:nvPr>
        </p:nvSpPr>
        <p:spPr/>
        <p:txBody>
          <a:bodyPr/>
          <a:lstStyle>
            <a:extLst/>
          </a:lstStyle>
          <a:p>
            <a:fld id="{F30C84A2-23CF-44F5-B813-5187ED5C7D1C}" type="datetimeFigureOut">
              <a:rPr kumimoji="0" lang="de-DE" sz="1200">
                <a:solidFill>
                  <a:schemeClr val="tx2"/>
                </a:solidFill>
              </a:rPr>
              <a:pPr/>
              <a:t>31.01.2017</a:t>
            </a:fld>
            <a:endParaRPr kumimoji="0" lang="de-DE"/>
          </a:p>
        </p:txBody>
      </p:sp>
      <p:sp>
        <p:nvSpPr>
          <p:cNvPr id="6" name="Rectangle 5"/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extLst/>
          </a:lstStyle>
          <a:p>
            <a:pPr algn="r"/>
            <a:fld id="{F99EC173-99AE-4773-AB25-02E469A13EAE}" type="slidenum">
              <a:rPr kumimoji="0" lang="de-DE" sz="1200">
                <a:solidFill>
                  <a:schemeClr val="tx2"/>
                </a:solidFill>
              </a:rPr>
              <a:pPr algn="r"/>
              <a:t>‹Nr.›</a:t>
            </a:fld>
            <a:endParaRPr kumimoji="0" lang="de-DE"/>
          </a:p>
        </p:txBody>
      </p:sp>
      <p:sp>
        <p:nvSpPr>
          <p:cNvPr id="7" name="Rectangle 6"/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extLst/>
          </a:lstStyle>
          <a:p>
            <a:endParaRPr kumimoji="0" lang="de-DE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3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extLst/>
          </a:lstStyle>
          <a:p>
            <a:pPr eaLnBrk="1" latinLnBrk="0" hangingPunct="1"/>
            <a:r>
              <a:rPr lang="de-DE" smtClean="0"/>
              <a:t>Titelmasterformat durch Klicken bearbeiten</a:t>
            </a:r>
            <a:endParaRPr/>
          </a:p>
        </p:txBody>
      </p:sp>
      <p:sp>
        <p:nvSpPr>
          <p:cNvPr id="14" name="Rectangle 6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de-DE" smtClean="0"/>
              <a:t>Textmasterformat bearbeiten</a:t>
            </a:r>
          </a:p>
          <a:p>
            <a:pPr lvl="1" eaLnBrk="1" latinLnBrk="0" hangingPunct="1"/>
            <a:r>
              <a:rPr lang="de-DE" smtClean="0"/>
              <a:t>Zweite Ebene</a:t>
            </a:r>
          </a:p>
          <a:p>
            <a:pPr lvl="2" eaLnBrk="1" latinLnBrk="0" hangingPunct="1"/>
            <a:r>
              <a:rPr lang="de-DE" smtClean="0"/>
              <a:t>Dritte Ebene</a:t>
            </a:r>
          </a:p>
          <a:p>
            <a:pPr lvl="3" eaLnBrk="1" latinLnBrk="0" hangingPunct="1"/>
            <a:r>
              <a:rPr lang="de-DE" smtClean="0"/>
              <a:t>Vierte Ebene</a:t>
            </a:r>
          </a:p>
          <a:p>
            <a:pPr lvl="4" eaLnBrk="1" latinLnBrk="0" hangingPunct="1"/>
            <a:r>
              <a:rPr lang="de-DE" smtClean="0"/>
              <a:t>Fünfte Ebene</a:t>
            </a:r>
            <a:endParaRPr/>
          </a:p>
        </p:txBody>
      </p:sp>
      <p:sp>
        <p:nvSpPr>
          <p:cNvPr id="2" name="Rectangle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ACB2EC6F-6501-4E04-BD6C-A8A6CABB2C5B}" type="datetimeFigureOut">
              <a:pPr/>
              <a:t>31.01.2017</a:t>
            </a:fld>
            <a:endParaRPr kumimoji="0" lang="de-DE"/>
          </a:p>
        </p:txBody>
      </p:sp>
      <p:sp>
        <p:nvSpPr>
          <p:cNvPr id="27" name="Rectangle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kumimoji="0" lang="de-DE"/>
          </a:p>
        </p:txBody>
      </p:sp>
      <p:sp>
        <p:nvSpPr>
          <p:cNvPr id="24" name="Rectangle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963B0023-0CED-47F7-85AE-654F0B232C29}" type="slidenum">
              <a:pPr/>
              <a:t>‹Nr.›</a:t>
            </a:fld>
            <a:endParaRPr kumimoji="0"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Hochformat mit Überschri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79581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8"/>
          <p:cNvSpPr>
            <a:spLocks noGrp="1"/>
          </p:cNvSpPr>
          <p:nvPr>
            <p:ph type="pic" sz="quarter" idx="10"/>
          </p:nvPr>
        </p:nvSpPr>
        <p:spPr>
          <a:xfrm>
            <a:off x="419375" y="233241"/>
            <a:ext cx="4640305" cy="6148087"/>
          </a:xfrm>
          <a:noFill/>
          <a:ln w="38100" cap="sq" cmpd="sng" algn="ctr">
            <a:solidFill>
              <a:srgbClr val="FFFFFF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extLst/>
          </a:lstStyle>
          <a:p>
            <a:pPr marL="0" marR="0" indent="1588" algn="ctr" eaLnBrk="1" latinLnBrk="0" hangingPunct="1"/>
            <a:r>
              <a:rPr lang="de-DE" dirty="0" smtClean="0"/>
              <a:t>Bild durch Klicken auf Symbol hinzufügen</a:t>
            </a:r>
            <a:endParaRPr dirty="0"/>
          </a:p>
        </p:txBody>
      </p:sp>
      <p:sp>
        <p:nvSpPr>
          <p:cNvPr id="13" name="Rectangle 6"/>
          <p:cNvSpPr>
            <a:spLocks noGrp="1"/>
          </p:cNvSpPr>
          <p:nvPr>
            <p:ph type="body" sz="quarter" idx="11" hasCustomPrompt="1"/>
          </p:nvPr>
        </p:nvSpPr>
        <p:spPr>
          <a:xfrm>
            <a:off x="5257800" y="260648"/>
            <a:ext cx="3505200" cy="6140152"/>
          </a:xfrm>
          <a:solidFill>
            <a:schemeClr val="bg1"/>
          </a:solidFill>
          <a:ln>
            <a:solidFill>
              <a:srgbClr val="FFFFFF"/>
            </a:solidFill>
          </a:ln>
          <a:effectLst/>
        </p:spPr>
        <p:txBody>
          <a:bodyPr tIns="91440" bIns="91440" anchor="t" anchorCtr="0">
            <a:noAutofit/>
          </a:bodyPr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kumimoji="0" lang="de-DE" sz="1800" i="0" baseline="0">
                <a:solidFill>
                  <a:srgbClr val="43476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extLst/>
          </a:lstStyle>
          <a:p>
            <a:pPr lvl="0"/>
            <a:r>
              <a:rPr kumimoji="0" lang="de-DE" dirty="0"/>
              <a:t>Überschrift durch Klicken hinzufügen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extLst/>
          </a:lstStyle>
          <a:p>
            <a:fld id="{F30C84A2-23CF-44F5-B813-5187ED5C7D1C}" type="datetimeFigureOut">
              <a:rPr kumimoji="0" lang="de-DE" sz="1200">
                <a:solidFill>
                  <a:schemeClr val="tx2"/>
                </a:solidFill>
              </a:rPr>
              <a:pPr/>
              <a:t>31.01.2017</a:t>
            </a:fld>
            <a:endParaRPr kumimoji="0" lang="de-DE"/>
          </a:p>
        </p:txBody>
      </p:sp>
      <p:sp>
        <p:nvSpPr>
          <p:cNvPr id="5" name="Rectangle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extLst/>
          </a:lstStyle>
          <a:p>
            <a:pPr algn="r"/>
            <a:fld id="{F99EC173-99AE-4773-AB25-02E469A13EAE}" type="slidenum">
              <a:rPr kumimoji="0" lang="de-DE" sz="1200">
                <a:solidFill>
                  <a:schemeClr val="tx2"/>
                </a:solidFill>
              </a:rPr>
              <a:pPr algn="r"/>
              <a:t>‹Nr.›</a:t>
            </a:fld>
            <a:endParaRPr kumimoji="0" lang="de-DE"/>
          </a:p>
        </p:txBody>
      </p:sp>
      <p:sp>
        <p:nvSpPr>
          <p:cNvPr id="6" name="Rectangle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extLst/>
          </a:lstStyle>
          <a:p>
            <a:endParaRPr kumimoji="0" lang="de-DE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Querformat (Vollbild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7703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6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  <a:noFill/>
          <a:ln w="25400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>
              <a:buFontTx/>
              <a:buNone/>
            </a:pPr>
            <a:r>
              <a:rPr kumimoji="0" lang="de-DE" i="0" dirty="0"/>
              <a:t>Ganzseitiges Bild</a:t>
            </a:r>
            <a:r>
              <a:rPr kumimoji="0" lang="de-DE" i="0" baseline="0" dirty="0"/>
              <a:t> durch Klicken auf Symbol </a:t>
            </a:r>
            <a:r>
              <a:rPr kumimoji="0" lang="de-DE" i="0" dirty="0"/>
              <a:t>hinzufügen</a:t>
            </a:r>
            <a:endParaRPr kumimoji="0" lang="de-DE" i="0" baseline="0" dirty="0"/>
          </a:p>
          <a:p>
            <a:pPr marL="0" marR="0" indent="0" algn="ctr">
              <a:buFontTx/>
              <a:buNone/>
            </a:pPr>
            <a:endParaRPr kumimoji="0" lang="de-DE" i="0" dirty="0"/>
          </a:p>
          <a:p>
            <a:pPr algn="ctr">
              <a:buFontTx/>
              <a:buNone/>
            </a:pPr>
            <a:endParaRPr kumimoji="0" lang="de-DE" i="0" dirty="0"/>
          </a:p>
          <a:p>
            <a:pPr algn="ctr">
              <a:buFontTx/>
              <a:buNone/>
            </a:pPr>
            <a:endParaRPr kumimoji="0" lang="de-DE" i="0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bumabschnit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4112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waterfall_j0262353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71500" y="0"/>
            <a:ext cx="10287002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63500" dist="38100" dir="5400000">
              <a:srgbClr val="000000">
                <a:alpha val="43137"/>
              </a:srgbClr>
            </a:outerShdw>
          </a:effectLst>
        </p:spPr>
      </p:pic>
      <p:sp>
        <p:nvSpPr>
          <p:cNvPr id="7" name="Rectangle 6"/>
          <p:cNvSpPr>
            <a:spLocks noGrp="1"/>
          </p:cNvSpPr>
          <p:nvPr>
            <p:ph type="pic" sz="quarter" idx="11"/>
          </p:nvPr>
        </p:nvSpPr>
        <p:spPr>
          <a:xfrm>
            <a:off x="786338" y="1842971"/>
            <a:ext cx="2286000" cy="2286000"/>
          </a:xfrm>
          <a:noFill/>
          <a:ln w="38100" cap="sq" cmpd="sng" algn="ctr">
            <a:solidFill>
              <a:srgbClr val="FFFFFF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/>
          <a:lstStyle>
            <a:extLst/>
          </a:lstStyle>
          <a:p>
            <a:pPr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18" name="Rectangle 6"/>
          <p:cNvSpPr>
            <a:spLocks noGrp="1"/>
          </p:cNvSpPr>
          <p:nvPr>
            <p:ph type="pic" sz="quarter" idx="15"/>
          </p:nvPr>
        </p:nvSpPr>
        <p:spPr>
          <a:xfrm>
            <a:off x="3474604" y="1842971"/>
            <a:ext cx="2286000" cy="2286000"/>
          </a:xfrm>
          <a:noFill/>
          <a:ln w="38100" cap="sq" cmpd="sng" algn="ctr">
            <a:solidFill>
              <a:srgbClr val="FFFFFF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/>
          <a:lstStyle>
            <a:extLst/>
          </a:lstStyle>
          <a:p>
            <a:pPr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2" name="Rectangle 6"/>
          <p:cNvSpPr>
            <a:spLocks noGrp="1"/>
          </p:cNvSpPr>
          <p:nvPr>
            <p:ph type="pic" sz="quarter" idx="16"/>
          </p:nvPr>
        </p:nvSpPr>
        <p:spPr>
          <a:xfrm>
            <a:off x="6162870" y="1842971"/>
            <a:ext cx="2286000" cy="2286000"/>
          </a:xfrm>
          <a:noFill/>
          <a:ln w="38100" cap="sq" cmpd="sng" algn="ctr">
            <a:solidFill>
              <a:srgbClr val="FFFFFF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/>
          <a:lstStyle>
            <a:extLst/>
          </a:lstStyle>
          <a:p>
            <a:pPr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8" name="Rectangle 7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extLst/>
          </a:lstStyle>
          <a:p>
            <a:fld id="{F30C84A2-23CF-44F5-B813-5187ED5C7D1C}" type="datetimeFigureOut">
              <a:rPr kumimoji="0" lang="de-DE" sz="1200">
                <a:solidFill>
                  <a:schemeClr val="tx2"/>
                </a:solidFill>
              </a:rPr>
              <a:pPr/>
              <a:t>31.01.2017</a:t>
            </a:fld>
            <a:endParaRPr kumimoji="0" lang="de-DE"/>
          </a:p>
        </p:txBody>
      </p:sp>
      <p:sp>
        <p:nvSpPr>
          <p:cNvPr id="9" name="Rectangle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extLst/>
          </a:lstStyle>
          <a:p>
            <a:pPr algn="r"/>
            <a:fld id="{F99EC173-99AE-4773-AB25-02E469A13EAE}" type="slidenum">
              <a:rPr kumimoji="0" lang="de-DE" sz="1200">
                <a:solidFill>
                  <a:schemeClr val="tx2"/>
                </a:solidFill>
              </a:rPr>
              <a:pPr algn="r"/>
              <a:t>‹Nr.›</a:t>
            </a:fld>
            <a:endParaRPr kumimoji="0" lang="de-DE"/>
          </a:p>
        </p:txBody>
      </p:sp>
      <p:sp>
        <p:nvSpPr>
          <p:cNvPr id="10" name="Rectangle 9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extLst/>
          </a:lstStyle>
          <a:p>
            <a:endParaRPr kumimoji="0" lang="de-DE"/>
          </a:p>
        </p:txBody>
      </p:sp>
      <p:sp>
        <p:nvSpPr>
          <p:cNvPr id="12" name="Rectangle 6"/>
          <p:cNvSpPr>
            <a:spLocks noGrp="1"/>
          </p:cNvSpPr>
          <p:nvPr>
            <p:ph type="body" sz="quarter" idx="20" hasCustomPrompt="1"/>
          </p:nvPr>
        </p:nvSpPr>
        <p:spPr>
          <a:xfrm>
            <a:off x="755576" y="4283404"/>
            <a:ext cx="2304256" cy="1656184"/>
          </a:xfrm>
          <a:solidFill>
            <a:schemeClr val="bg1"/>
          </a:solidFill>
        </p:spPr>
        <p:txBody>
          <a:bodyPr tIns="91440" bIns="91440" anchor="b" anchorCtr="0">
            <a:noAutofit/>
          </a:bodyPr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kumimoji="0" lang="de-DE" sz="1800" i="0" baseline="0">
                <a:solidFill>
                  <a:srgbClr val="43476D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extLst/>
          </a:lstStyle>
          <a:p>
            <a:pPr lvl="0"/>
            <a:r>
              <a:rPr kumimoji="0" lang="de-DE" dirty="0"/>
              <a:t>Überschrift durch Klicken hinzufügen</a:t>
            </a:r>
          </a:p>
        </p:txBody>
      </p:sp>
      <p:sp>
        <p:nvSpPr>
          <p:cNvPr id="13" name="Rectangle 6"/>
          <p:cNvSpPr>
            <a:spLocks noGrp="1"/>
          </p:cNvSpPr>
          <p:nvPr>
            <p:ph type="body" sz="quarter" idx="21" hasCustomPrompt="1"/>
          </p:nvPr>
        </p:nvSpPr>
        <p:spPr>
          <a:xfrm>
            <a:off x="3491880" y="4283404"/>
            <a:ext cx="2304256" cy="1656184"/>
          </a:xfrm>
          <a:solidFill>
            <a:schemeClr val="bg1"/>
          </a:solidFill>
        </p:spPr>
        <p:txBody>
          <a:bodyPr tIns="91440" bIns="91440" anchor="b" anchorCtr="0">
            <a:noAutofit/>
          </a:bodyPr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kumimoji="0" lang="de-DE" sz="1800" i="0" baseline="0">
                <a:solidFill>
                  <a:srgbClr val="43476D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extLst/>
          </a:lstStyle>
          <a:p>
            <a:pPr lvl="0"/>
            <a:r>
              <a:rPr kumimoji="0" lang="de-DE" dirty="0"/>
              <a:t>Überschrift durch Klicken hinzufügen</a:t>
            </a:r>
          </a:p>
        </p:txBody>
      </p:sp>
      <p:sp>
        <p:nvSpPr>
          <p:cNvPr id="14" name="Rectangle 6"/>
          <p:cNvSpPr>
            <a:spLocks noGrp="1"/>
          </p:cNvSpPr>
          <p:nvPr>
            <p:ph type="body" sz="quarter" idx="22" hasCustomPrompt="1"/>
          </p:nvPr>
        </p:nvSpPr>
        <p:spPr>
          <a:xfrm>
            <a:off x="6156176" y="4283404"/>
            <a:ext cx="2304256" cy="1656184"/>
          </a:xfrm>
          <a:solidFill>
            <a:schemeClr val="bg1"/>
          </a:solidFill>
        </p:spPr>
        <p:txBody>
          <a:bodyPr tIns="91440" bIns="91440" anchor="b" anchorCtr="0">
            <a:noAutofit/>
          </a:bodyPr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kumimoji="0" lang="de-DE" sz="1800" i="0" baseline="0">
                <a:solidFill>
                  <a:srgbClr val="43476D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extLst/>
          </a:lstStyle>
          <a:p>
            <a:pPr lvl="0"/>
            <a:r>
              <a:rPr kumimoji="0" lang="de-DE"/>
              <a:t>Überschrift durch Klicken hinzufügen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2, Hochformat mit Überschrifte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01069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8"/>
          <p:cNvSpPr>
            <a:spLocks noGrp="1" noChangeAspect="1"/>
          </p:cNvSpPr>
          <p:nvPr>
            <p:ph type="pic" sz="quarter" idx="10"/>
          </p:nvPr>
        </p:nvSpPr>
        <p:spPr>
          <a:xfrm>
            <a:off x="4722047" y="609600"/>
            <a:ext cx="3431353" cy="4575141"/>
          </a:xfrm>
          <a:noFill/>
          <a:ln w="38100" cap="sq" cmpd="sng" algn="ctr">
            <a:solidFill>
              <a:srgbClr val="FFFFFF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1588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11" name="Rectangle 8"/>
          <p:cNvSpPr>
            <a:spLocks noGrp="1" noChangeAspect="1"/>
          </p:cNvSpPr>
          <p:nvPr>
            <p:ph type="pic" sz="quarter" idx="11"/>
          </p:nvPr>
        </p:nvSpPr>
        <p:spPr>
          <a:xfrm>
            <a:off x="1066800" y="609600"/>
            <a:ext cx="3429000" cy="4572000"/>
          </a:xfrm>
          <a:noFill/>
          <a:ln w="38100" cap="sq" cmpd="sng" algn="ctr">
            <a:solidFill>
              <a:srgbClr val="FFFFFF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1588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3" name="Rectangle 7"/>
          <p:cNvSpPr>
            <a:spLocks noGrp="1"/>
          </p:cNvSpPr>
          <p:nvPr>
            <p:ph type="body" sz="quarter" idx="14" hasCustomPrompt="1"/>
          </p:nvPr>
        </p:nvSpPr>
        <p:spPr>
          <a:xfrm>
            <a:off x="1066800" y="5334000"/>
            <a:ext cx="3429000" cy="1066800"/>
          </a:xfrm>
          <a:solidFill>
            <a:schemeClr val="bg1"/>
          </a:solidFill>
        </p:spPr>
        <p:txBody>
          <a:bodyPr lIns="91440" rIns="9144" anchor="t" anchorCtr="0">
            <a:noAutofit/>
          </a:bodyPr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kumimoji="0" lang="de-DE" sz="1800" baseline="0">
                <a:solidFill>
                  <a:srgbClr val="43476D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extLst/>
          </a:lstStyle>
          <a:p>
            <a:pPr lvl="0"/>
            <a:r>
              <a:rPr kumimoji="0" lang="de-DE" dirty="0"/>
              <a:t>Überschrift durch Klicken hinzufügen</a:t>
            </a:r>
          </a:p>
        </p:txBody>
      </p:sp>
      <p:sp>
        <p:nvSpPr>
          <p:cNvPr id="19" name="Rectangle 7"/>
          <p:cNvSpPr>
            <a:spLocks noGrp="1"/>
          </p:cNvSpPr>
          <p:nvPr>
            <p:ph type="body" sz="quarter" idx="15" hasCustomPrompt="1"/>
          </p:nvPr>
        </p:nvSpPr>
        <p:spPr>
          <a:xfrm>
            <a:off x="4724400" y="5334000"/>
            <a:ext cx="3429000" cy="1066800"/>
          </a:xfrm>
          <a:solidFill>
            <a:schemeClr val="bg1"/>
          </a:solidFill>
        </p:spPr>
        <p:txBody>
          <a:bodyPr lIns="91440" rIns="9144" anchor="t" anchorCtr="0">
            <a:noAutofit/>
          </a:bodyPr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kumimoji="0" lang="de-DE" sz="1800" baseline="0">
                <a:solidFill>
                  <a:srgbClr val="43476D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extLst/>
          </a:lstStyle>
          <a:p>
            <a:pPr lvl="0"/>
            <a:r>
              <a:rPr kumimoji="0" lang="de-DE"/>
              <a:t>Überschrift durch Klicken hinzufügen</a:t>
            </a:r>
          </a:p>
        </p:txBody>
      </p:sp>
      <p:sp>
        <p:nvSpPr>
          <p:cNvPr id="6" name="Rectangle 5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extLst/>
          </a:lstStyle>
          <a:p>
            <a:fld id="{F30C84A2-23CF-44F5-B813-5187ED5C7D1C}" type="datetimeFigureOut">
              <a:rPr kumimoji="0" lang="de-DE" sz="1200">
                <a:solidFill>
                  <a:schemeClr val="tx2"/>
                </a:solidFill>
              </a:rPr>
              <a:pPr/>
              <a:t>31.01.2017</a:t>
            </a:fld>
            <a:endParaRPr kumimoji="0" lang="de-DE"/>
          </a:p>
        </p:txBody>
      </p:sp>
      <p:sp>
        <p:nvSpPr>
          <p:cNvPr id="7" name="Rectangle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extLst/>
          </a:lstStyle>
          <a:p>
            <a:pPr algn="r"/>
            <a:fld id="{F99EC173-99AE-4773-AB25-02E469A13EAE}" type="slidenum">
              <a:rPr kumimoji="0" lang="de-DE" sz="1200">
                <a:solidFill>
                  <a:schemeClr val="tx2"/>
                </a:solidFill>
              </a:rPr>
              <a:pPr algn="r"/>
              <a:t>‹Nr.›</a:t>
            </a:fld>
            <a:endParaRPr kumimoji="0" lang="de-DE"/>
          </a:p>
        </p:txBody>
      </p:sp>
      <p:sp>
        <p:nvSpPr>
          <p:cNvPr id="8" name="Rectangle 7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extLst/>
          </a:lstStyle>
          <a:p>
            <a:endParaRPr kumimoji="0" lang="de-DE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, Querformat mit Überschrifte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4930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7"/>
          <p:cNvSpPr>
            <a:spLocks noGrp="1" noChangeAspect="1"/>
          </p:cNvSpPr>
          <p:nvPr>
            <p:ph type="pic" sz="quarter" idx="13"/>
          </p:nvPr>
        </p:nvSpPr>
        <p:spPr>
          <a:xfrm>
            <a:off x="4648200" y="1676400"/>
            <a:ext cx="4038600" cy="3028950"/>
          </a:xfrm>
          <a:prstGeom prst="rect">
            <a:avLst/>
          </a:prstGeom>
          <a:noFill/>
          <a:ln w="38100" cap="sq" cmpd="sng" algn="ctr">
            <a:solidFill>
              <a:srgbClr val="FFFFFF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25" name="Rectangle 7"/>
          <p:cNvSpPr>
            <a:spLocks noGrp="1" noChangeAspect="1"/>
          </p:cNvSpPr>
          <p:nvPr>
            <p:ph type="pic" sz="quarter" idx="14"/>
          </p:nvPr>
        </p:nvSpPr>
        <p:spPr>
          <a:xfrm>
            <a:off x="457200" y="1676400"/>
            <a:ext cx="4038600" cy="3028950"/>
          </a:xfrm>
          <a:prstGeom prst="rect">
            <a:avLst/>
          </a:prstGeom>
          <a:noFill/>
          <a:ln w="38100" cap="sq" cmpd="sng" algn="ctr">
            <a:solidFill>
              <a:srgbClr val="FFFFFF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8" name="Rectangle 7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4857750"/>
            <a:ext cx="4038600" cy="1238250"/>
          </a:xfrm>
          <a:solidFill>
            <a:schemeClr val="bg1"/>
          </a:solidFill>
        </p:spPr>
        <p:txBody>
          <a:bodyPr rIns="9144" anchor="t" anchorCtr="0">
            <a:noAutofit/>
          </a:bodyPr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kumimoji="0" lang="de-DE" sz="1800" baseline="0">
                <a:solidFill>
                  <a:srgbClr val="43476D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extLst/>
          </a:lstStyle>
          <a:p>
            <a:pPr lvl="0"/>
            <a:r>
              <a:rPr kumimoji="0" lang="de-DE" dirty="0"/>
              <a:t>Überschrift durch Klicken hinzufügen</a:t>
            </a:r>
          </a:p>
        </p:txBody>
      </p:sp>
      <p:sp>
        <p:nvSpPr>
          <p:cNvPr id="19" name="Rectangle 7"/>
          <p:cNvSpPr>
            <a:spLocks noGrp="1"/>
          </p:cNvSpPr>
          <p:nvPr>
            <p:ph type="body" sz="quarter" idx="17" hasCustomPrompt="1"/>
          </p:nvPr>
        </p:nvSpPr>
        <p:spPr>
          <a:xfrm>
            <a:off x="4648200" y="4857750"/>
            <a:ext cx="4038600" cy="1238250"/>
          </a:xfrm>
          <a:solidFill>
            <a:schemeClr val="bg1"/>
          </a:solidFill>
        </p:spPr>
        <p:txBody>
          <a:bodyPr rIns="9144" anchor="t" anchorCtr="0">
            <a:noAutofit/>
          </a:bodyPr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kumimoji="0" lang="de-DE" sz="1800" baseline="0">
                <a:solidFill>
                  <a:srgbClr val="43476D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extLst/>
          </a:lstStyle>
          <a:p>
            <a:pPr lvl="0"/>
            <a:r>
              <a:rPr kumimoji="0" lang="de-DE"/>
              <a:t>Überschrift durch Klicken hinzufügen</a:t>
            </a:r>
          </a:p>
        </p:txBody>
      </p:sp>
      <p:sp>
        <p:nvSpPr>
          <p:cNvPr id="6" name="Rectangle 5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extLst/>
          </a:lstStyle>
          <a:p>
            <a:fld id="{F30C84A2-23CF-44F5-B813-5187ED5C7D1C}" type="datetimeFigureOut">
              <a:rPr kumimoji="0" lang="de-DE" sz="1200">
                <a:solidFill>
                  <a:schemeClr val="tx2"/>
                </a:solidFill>
              </a:rPr>
              <a:pPr/>
              <a:t>31.01.2017</a:t>
            </a:fld>
            <a:endParaRPr kumimoji="0" lang="de-DE"/>
          </a:p>
        </p:txBody>
      </p:sp>
      <p:sp>
        <p:nvSpPr>
          <p:cNvPr id="7" name="Rectangle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extLst/>
          </a:lstStyle>
          <a:p>
            <a:pPr algn="r"/>
            <a:fld id="{F99EC173-99AE-4773-AB25-02E469A13EAE}" type="slidenum">
              <a:rPr kumimoji="0" lang="de-DE" sz="1200">
                <a:solidFill>
                  <a:schemeClr val="tx2"/>
                </a:solidFill>
              </a:rPr>
              <a:pPr algn="r"/>
              <a:t>‹Nr.›</a:t>
            </a:fld>
            <a:endParaRPr kumimoji="0" lang="de-DE"/>
          </a:p>
        </p:txBody>
      </p:sp>
      <p:sp>
        <p:nvSpPr>
          <p:cNvPr id="9" name="Rectangle 8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extLst/>
          </a:lstStyle>
          <a:p>
            <a:endParaRPr kumimoji="0" lang="de-DE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, gemischt mit Überschri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2608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7"/>
          <p:cNvSpPr>
            <a:spLocks noGrp="1" noChangeAspect="1"/>
          </p:cNvSpPr>
          <p:nvPr>
            <p:ph type="pic" sz="quarter" idx="12"/>
          </p:nvPr>
        </p:nvSpPr>
        <p:spPr>
          <a:xfrm>
            <a:off x="454152" y="381000"/>
            <a:ext cx="4462272" cy="5949696"/>
          </a:xfr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0" marR="0" indent="1588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11" name="Rectangle 7"/>
          <p:cNvSpPr>
            <a:spLocks noGrp="1"/>
          </p:cNvSpPr>
          <p:nvPr>
            <p:ph type="body" sz="quarter" idx="13" hasCustomPrompt="1"/>
          </p:nvPr>
        </p:nvSpPr>
        <p:spPr>
          <a:xfrm>
            <a:off x="5141976" y="332656"/>
            <a:ext cx="3773425" cy="5991944"/>
          </a:xfrm>
        </p:spPr>
        <p:txBody>
          <a:bodyPr anchor="t" anchorCtr="0">
            <a:noAutofit/>
          </a:bodyPr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kumimoji="0" lang="de-DE" sz="1800" i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kumimoji="0" lang="de-DE" dirty="0"/>
              <a:t>Überschrift durch Klicken hinzufügen</a:t>
            </a:r>
          </a:p>
        </p:txBody>
      </p:sp>
      <p:sp>
        <p:nvSpPr>
          <p:cNvPr id="5" name="Rectangle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extLst/>
          </a:lstStyle>
          <a:p>
            <a:fld id="{F30C84A2-23CF-44F5-B813-5187ED5C7D1C}" type="datetimeFigureOut">
              <a:rPr kumimoji="0" lang="de-DE" sz="1200">
                <a:solidFill>
                  <a:schemeClr val="tx2"/>
                </a:solidFill>
              </a:rPr>
              <a:pPr/>
              <a:t>31.01.2017</a:t>
            </a:fld>
            <a:endParaRPr kumimoji="0" lang="de-DE"/>
          </a:p>
        </p:txBody>
      </p:sp>
      <p:sp>
        <p:nvSpPr>
          <p:cNvPr id="7" name="Rectangle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extLst/>
          </a:lstStyle>
          <a:p>
            <a:pPr algn="r"/>
            <a:fld id="{F99EC173-99AE-4773-AB25-02E469A13EAE}" type="slidenum">
              <a:rPr kumimoji="0" lang="de-DE" sz="1200">
                <a:solidFill>
                  <a:schemeClr val="tx2"/>
                </a:solidFill>
              </a:rPr>
              <a:pPr algn="r"/>
              <a:t>‹Nr.›</a:t>
            </a:fld>
            <a:endParaRPr kumimoji="0" lang="de-DE"/>
          </a:p>
        </p:txBody>
      </p:sp>
      <p:sp>
        <p:nvSpPr>
          <p:cNvPr id="8" name="Rectangle 7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extLst/>
          </a:lstStyle>
          <a:p>
            <a:endParaRPr kumimoji="0" lang="de-DE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, Hochformat mit Überschrifte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57961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8"/>
          <p:cNvSpPr>
            <a:spLocks noGrp="1" noChangeAspect="1"/>
          </p:cNvSpPr>
          <p:nvPr>
            <p:ph type="pic" sz="quarter" idx="10"/>
          </p:nvPr>
        </p:nvSpPr>
        <p:spPr>
          <a:xfrm>
            <a:off x="228600" y="1066800"/>
            <a:ext cx="2743200" cy="3657600"/>
          </a:xfrm>
          <a:noFill/>
          <a:ln w="38100" cap="sq" cmpd="sng" algn="ctr">
            <a:solidFill>
              <a:srgbClr val="FFFFFF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4" name="Rectangle 8"/>
          <p:cNvSpPr>
            <a:spLocks noGrp="1" noChangeAspect="1"/>
          </p:cNvSpPr>
          <p:nvPr>
            <p:ph type="pic" sz="quarter" idx="11"/>
          </p:nvPr>
        </p:nvSpPr>
        <p:spPr>
          <a:xfrm>
            <a:off x="3200400" y="1066800"/>
            <a:ext cx="2743200" cy="3657600"/>
          </a:xfrm>
          <a:noFill/>
          <a:ln w="38100" cap="sq" cmpd="sng" algn="ctr">
            <a:solidFill>
              <a:srgbClr val="FFFFFF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31" name="Rectangle 8"/>
          <p:cNvSpPr>
            <a:spLocks noGrp="1" noChangeAspect="1"/>
          </p:cNvSpPr>
          <p:nvPr>
            <p:ph type="pic" sz="quarter" idx="12"/>
          </p:nvPr>
        </p:nvSpPr>
        <p:spPr>
          <a:xfrm>
            <a:off x="6172200" y="1066800"/>
            <a:ext cx="2743200" cy="3657600"/>
          </a:xfrm>
          <a:noFill/>
          <a:ln w="38100" cap="sq" cmpd="sng" algn="ctr">
            <a:solidFill>
              <a:srgbClr val="FFFFFF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>
            <a:normAutofit/>
          </a:bodyPr>
          <a:lstStyle>
            <a:lvl1pPr marL="0" marR="0" indent="1588" algn="ctr" rtl="0" eaLnBrk="1" latinLnBrk="0" hangingPunct="1">
              <a:spcBef>
                <a:spcPct val="20000"/>
              </a:spcBef>
              <a:buFontTx/>
              <a:buNone/>
              <a:defRPr kumimoji="0" lang="de-DE"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marL="342900" indent="-342900" algn="ctr" eaLnBrk="1" latinLnBrk="0" hangingPunct="1"/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7" name="Rectangle 6"/>
          <p:cNvSpPr>
            <a:spLocks noGrp="1"/>
          </p:cNvSpPr>
          <p:nvPr>
            <p:ph type="body" sz="quarter" idx="13" hasCustomPrompt="1"/>
          </p:nvPr>
        </p:nvSpPr>
        <p:spPr>
          <a:xfrm>
            <a:off x="228600" y="4876800"/>
            <a:ext cx="2743200" cy="1447800"/>
          </a:xfrm>
          <a:solidFill>
            <a:srgbClr val="FFFFFF"/>
          </a:solidFill>
        </p:spPr>
        <p:txBody>
          <a:bodyPr anchor="t" anchorCtr="0">
            <a:noAutofit/>
          </a:bodyPr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kumimoji="0" lang="de-DE" sz="1800" baseline="0">
                <a:solidFill>
                  <a:srgbClr val="43476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extLst/>
          </a:lstStyle>
          <a:p>
            <a:pPr lvl="0"/>
            <a:r>
              <a:rPr kumimoji="0" lang="de-DE"/>
              <a:t>Überschrift durch Klicken hinzufügen</a:t>
            </a:r>
          </a:p>
        </p:txBody>
      </p:sp>
      <p:sp>
        <p:nvSpPr>
          <p:cNvPr id="6" name="Rectangle 6"/>
          <p:cNvSpPr>
            <a:spLocks noGrp="1"/>
          </p:cNvSpPr>
          <p:nvPr>
            <p:ph type="body" sz="quarter" idx="14" hasCustomPrompt="1"/>
          </p:nvPr>
        </p:nvSpPr>
        <p:spPr>
          <a:xfrm>
            <a:off x="3200400" y="4876800"/>
            <a:ext cx="2743200" cy="1447800"/>
          </a:xfrm>
          <a:solidFill>
            <a:srgbClr val="FFFFFF"/>
          </a:solidFill>
        </p:spPr>
        <p:txBody>
          <a:bodyPr anchor="t" anchorCtr="0">
            <a:noAutofit/>
          </a:bodyPr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kumimoji="0" lang="de-DE" sz="1800" baseline="0">
                <a:solidFill>
                  <a:srgbClr val="43476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extLst/>
          </a:lstStyle>
          <a:p>
            <a:pPr lvl="0"/>
            <a:r>
              <a:rPr kumimoji="0" lang="de-DE"/>
              <a:t>Überschrift durch Klicken hinzufügen</a:t>
            </a:r>
          </a:p>
        </p:txBody>
      </p:sp>
      <p:sp>
        <p:nvSpPr>
          <p:cNvPr id="14" name="Rectangle 6"/>
          <p:cNvSpPr>
            <a:spLocks noGrp="1"/>
          </p:cNvSpPr>
          <p:nvPr>
            <p:ph type="body" sz="quarter" idx="15" hasCustomPrompt="1"/>
          </p:nvPr>
        </p:nvSpPr>
        <p:spPr>
          <a:xfrm>
            <a:off x="6172200" y="4876800"/>
            <a:ext cx="2743200" cy="1447800"/>
          </a:xfrm>
          <a:solidFill>
            <a:srgbClr val="FFFFFF"/>
          </a:solidFill>
        </p:spPr>
        <p:txBody>
          <a:bodyPr anchor="t" anchorCtr="0">
            <a:noAutofit/>
          </a:bodyPr>
          <a:lstStyle>
            <a:lvl1pPr marL="0" marR="0" indent="0" algn="l" rtl="0" eaLnBrk="1" latinLnBrk="0" hangingPunct="1">
              <a:spcBef>
                <a:spcPct val="20000"/>
              </a:spcBef>
              <a:buFontTx/>
              <a:buNone/>
              <a:defRPr kumimoji="0" lang="de-DE" sz="1800" baseline="0">
                <a:solidFill>
                  <a:srgbClr val="43476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extLst/>
          </a:lstStyle>
          <a:p>
            <a:pPr lvl="0"/>
            <a:r>
              <a:rPr kumimoji="0" lang="de-DE"/>
              <a:t>Überschrift durch Klicken hinzufügen</a:t>
            </a:r>
          </a:p>
        </p:txBody>
      </p:sp>
      <p:sp>
        <p:nvSpPr>
          <p:cNvPr id="8" name="Rectangle 7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extLst/>
          </a:lstStyle>
          <a:p>
            <a:fld id="{F30C84A2-23CF-44F5-B813-5187ED5C7D1C}" type="datetimeFigureOut">
              <a:rPr kumimoji="0" lang="de-DE" sz="1200">
                <a:solidFill>
                  <a:schemeClr val="tx2"/>
                </a:solidFill>
              </a:rPr>
              <a:pPr/>
              <a:t>31.01.2017</a:t>
            </a:fld>
            <a:endParaRPr kumimoji="0" lang="de-DE"/>
          </a:p>
        </p:txBody>
      </p:sp>
      <p:sp>
        <p:nvSpPr>
          <p:cNvPr id="9" name="Rectangle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extLst/>
          </a:lstStyle>
          <a:p>
            <a:pPr algn="r"/>
            <a:fld id="{F99EC173-99AE-4773-AB25-02E469A13EAE}" type="slidenum">
              <a:rPr kumimoji="0" lang="de-DE" sz="1200">
                <a:solidFill>
                  <a:schemeClr val="tx2"/>
                </a:solidFill>
              </a:rPr>
              <a:pPr algn="r"/>
              <a:t>‹Nr.›</a:t>
            </a:fld>
            <a:endParaRPr kumimoji="0" lang="de-DE"/>
          </a:p>
        </p:txBody>
      </p:sp>
      <p:sp>
        <p:nvSpPr>
          <p:cNvPr id="10" name="Rectangle 9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extLst/>
          </a:lstStyle>
          <a:p>
            <a:endParaRPr kumimoji="0" lang="de-DE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2287540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" name="think-cell Folie" r:id="rId26" imgW="270" imgH="270" progId="TCLayout.ActiveDocument.1">
                  <p:embed/>
                </p:oleObj>
              </mc:Choice>
              <mc:Fallback>
                <p:oleObj name="think-cell Foli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waterfall_j0262353.png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71500" y="0"/>
            <a:ext cx="10287002" cy="6858000"/>
          </a:xfrm>
          <a:prstGeom prst="rect">
            <a:avLst/>
          </a:prstGeom>
          <a:noFill/>
          <a:ln w="25400" cap="rnd" cmpd="sng" algn="ctr">
            <a:noFill/>
            <a:prstDash val="solid"/>
          </a:ln>
          <a:effectLst>
            <a:outerShdw blurRad="63500" dist="38100" dir="5400000">
              <a:srgbClr val="000000">
                <a:alpha val="43137"/>
              </a:srgbClr>
            </a:outerShdw>
          </a:effec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249362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pPr eaLnBrk="1" latinLnBrk="0" hangingPunct="1"/>
            <a:r>
              <a:rPr kumimoji="0" lang="de-DE" dirty="0" smtClean="0"/>
              <a:t>Titelmasterformat durch Klicken bearbeiten</a:t>
            </a:r>
            <a:endParaRPr kumimoji="0" lang="en-US" dirty="0" smtClean="0"/>
          </a:p>
        </p:txBody>
      </p:sp>
      <p:sp>
        <p:nvSpPr>
          <p:cNvPr id="13" name="Rectangle 5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de-DE" smtClean="0"/>
              <a:t>Textmasterformat bearbeiten</a:t>
            </a:r>
          </a:p>
          <a:p>
            <a:pPr lvl="1" eaLnBrk="1" latinLnBrk="0" hangingPunct="1"/>
            <a:r>
              <a:rPr kumimoji="0" lang="de-DE" smtClean="0"/>
              <a:t>Zweite Ebene</a:t>
            </a:r>
          </a:p>
          <a:p>
            <a:pPr lvl="2" eaLnBrk="1" latinLnBrk="0" hangingPunct="1"/>
            <a:r>
              <a:rPr kumimoji="0" lang="de-DE" smtClean="0"/>
              <a:t>Dritte Ebene</a:t>
            </a:r>
          </a:p>
          <a:p>
            <a:pPr lvl="3" eaLnBrk="1" latinLnBrk="0" hangingPunct="1"/>
            <a:r>
              <a:rPr kumimoji="0" lang="de-DE" smtClean="0"/>
              <a:t>Vierte Ebene</a:t>
            </a:r>
          </a:p>
          <a:p>
            <a:pPr lvl="4" eaLnBrk="1" latinLnBrk="0" hangingPunct="1"/>
            <a:r>
              <a:rPr kumimoji="0" lang="de-DE" smtClean="0"/>
              <a:t>Fünfte Ebene</a:t>
            </a:r>
            <a:endParaRPr kumimoji="0" lang="en-US"/>
          </a:p>
        </p:txBody>
      </p:sp>
      <p:sp>
        <p:nvSpPr>
          <p:cNvPr id="29" name="Rectangle 3"/>
          <p:cNvSpPr>
            <a:spLocks noGrp="1"/>
          </p:cNvSpPr>
          <p:nvPr>
            <p:ph type="dt" sz="half" idx="2"/>
          </p:nvPr>
        </p:nvSpPr>
        <p:spPr>
          <a:xfrm>
            <a:off x="66675" y="6559360"/>
            <a:ext cx="2438400" cy="244475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lang="de-DE" sz="1200">
                <a:solidFill>
                  <a:schemeClr val="tx2"/>
                </a:solidFill>
              </a:defRPr>
            </a:lvl1pPr>
            <a:extLst/>
          </a:lstStyle>
          <a:p>
            <a:fld id="{F30C84A2-23CF-44F5-B813-5187ED5C7D1C}" type="datetimeFigureOut">
              <a:rPr kumimoji="0" lang="de-DE" sz="1200">
                <a:solidFill>
                  <a:schemeClr val="tx2"/>
                </a:solidFill>
              </a:rPr>
              <a:pPr/>
              <a:t>31.01.2017</a:t>
            </a:fld>
            <a:endParaRPr kumimoji="0" lang="de-DE" sz="1200">
              <a:solidFill>
                <a:schemeClr val="tx2"/>
              </a:solidFill>
            </a:endParaRPr>
          </a:p>
        </p:txBody>
      </p:sp>
      <p:sp>
        <p:nvSpPr>
          <p:cNvPr id="20" name="Rectangle 25"/>
          <p:cNvSpPr>
            <a:spLocks noGrp="1"/>
          </p:cNvSpPr>
          <p:nvPr>
            <p:ph type="ftr" sz="quarter" idx="3"/>
          </p:nvPr>
        </p:nvSpPr>
        <p:spPr>
          <a:xfrm>
            <a:off x="2995653" y="6558153"/>
            <a:ext cx="4648200" cy="246888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lang="de-DE" sz="1200">
                <a:solidFill>
                  <a:schemeClr val="tx2"/>
                </a:solidFill>
              </a:defRPr>
            </a:lvl1pPr>
            <a:extLst/>
          </a:lstStyle>
          <a:p>
            <a:pPr algn="ctr"/>
            <a:endParaRPr kumimoji="0" lang="de-DE" sz="1200">
              <a:solidFill>
                <a:schemeClr val="tx2"/>
              </a:solidFill>
            </a:endParaRPr>
          </a:p>
        </p:txBody>
      </p:sp>
      <p:sp>
        <p:nvSpPr>
          <p:cNvPr id="23" name="Rectangle 16"/>
          <p:cNvSpPr>
            <a:spLocks noGrp="1"/>
          </p:cNvSpPr>
          <p:nvPr>
            <p:ph type="sldNum" sz="quarter" idx="4"/>
          </p:nvPr>
        </p:nvSpPr>
        <p:spPr>
          <a:xfrm>
            <a:off x="8172450" y="6559360"/>
            <a:ext cx="914400" cy="244475"/>
          </a:xfrm>
          <a:prstGeom prst="rect">
            <a:avLst/>
          </a:prstGeom>
        </p:spPr>
        <p:txBody>
          <a:bodyPr/>
          <a:lstStyle>
            <a:lvl1pPr algn="r" eaLnBrk="1" latinLnBrk="0" hangingPunct="1">
              <a:defRPr kumimoji="0" lang="de-DE" sz="1200">
                <a:solidFill>
                  <a:schemeClr val="tx2"/>
                </a:solidFill>
              </a:defRPr>
            </a:lvl1pPr>
            <a:extLst/>
          </a:lstStyle>
          <a:p>
            <a:pPr algn="r"/>
            <a:fld id="{F99EC173-99AE-4773-AB25-02E469A13EAE}" type="slidenum">
              <a:rPr kumimoji="0" lang="de-DE" sz="1200">
                <a:solidFill>
                  <a:schemeClr val="tx2"/>
                </a:solidFill>
              </a:rPr>
              <a:pPr algn="r"/>
              <a:t>‹Nr.›</a:t>
            </a:fld>
            <a:endParaRPr kumimoji="0" lang="de-DE" sz="1200">
              <a:solidFill>
                <a:schemeClr val="tx2"/>
              </a:solidFill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kumimoji="0" lang="de-DE" sz="3200" cap="all" baseline="0">
          <a:solidFill>
            <a:schemeClr val="tx1"/>
          </a:solidFill>
          <a:effectLst>
            <a:outerShdw blurRad="51000" dist="37000" dir="5400000" algn="tl" rotWithShape="0">
              <a:srgbClr val="000000">
                <a:alpha val="25000"/>
              </a:srgbClr>
            </a:outerShdw>
          </a:effectLst>
          <a:latin typeface="Helvetica" panose="020B0604020202020204" pitchFamily="34" charset="0"/>
          <a:ea typeface="+mj-ea"/>
          <a:cs typeface="Helvetica" panose="020B0604020202020204" pitchFamily="34" charset="0"/>
        </a:defRPr>
      </a:lvl1pPr>
      <a:lvl2pPr eaLnBrk="1" latinLnBrk="0" hangingPunct="1">
        <a:defRPr kumimoji="0" lang="de-DE">
          <a:solidFill>
            <a:schemeClr val="tx2"/>
          </a:solidFill>
        </a:defRPr>
      </a:lvl2pPr>
      <a:lvl3pPr eaLnBrk="1" latinLnBrk="0" hangingPunct="1">
        <a:defRPr kumimoji="0" lang="de-DE">
          <a:solidFill>
            <a:schemeClr val="tx2"/>
          </a:solidFill>
        </a:defRPr>
      </a:lvl3pPr>
      <a:lvl4pPr eaLnBrk="1" latinLnBrk="0" hangingPunct="1">
        <a:defRPr kumimoji="0" lang="de-DE">
          <a:solidFill>
            <a:schemeClr val="tx2"/>
          </a:solidFill>
        </a:defRPr>
      </a:lvl4pPr>
      <a:lvl5pPr eaLnBrk="1" latinLnBrk="0" hangingPunct="1">
        <a:defRPr kumimoji="0" lang="de-DE">
          <a:solidFill>
            <a:schemeClr val="tx2"/>
          </a:solidFill>
        </a:defRPr>
      </a:lvl5pPr>
      <a:lvl6pPr eaLnBrk="1" latinLnBrk="0" hangingPunct="1">
        <a:defRPr kumimoji="0" lang="de-DE">
          <a:solidFill>
            <a:schemeClr val="tx2"/>
          </a:solidFill>
        </a:defRPr>
      </a:lvl6pPr>
      <a:lvl7pPr eaLnBrk="1" latinLnBrk="0" hangingPunct="1">
        <a:defRPr kumimoji="0" lang="de-DE">
          <a:solidFill>
            <a:schemeClr val="tx2"/>
          </a:solidFill>
        </a:defRPr>
      </a:lvl7pPr>
      <a:lvl8pPr eaLnBrk="1" latinLnBrk="0" hangingPunct="1">
        <a:defRPr kumimoji="0" lang="de-DE">
          <a:solidFill>
            <a:schemeClr val="tx2"/>
          </a:solidFill>
        </a:defRPr>
      </a:lvl8pPr>
      <a:lvl9pPr eaLnBrk="1" latinLnBrk="0" hangingPunct="1">
        <a:defRPr kumimoji="0" lang="de-DE">
          <a:solidFill>
            <a:schemeClr val="tx2"/>
          </a:solidFill>
        </a:defRPr>
      </a:lvl9pPr>
      <a:extLst/>
    </p:titleStyle>
    <p:bodyStyle>
      <a:lvl1pPr marL="342900" indent="-342900" algn="l" rtl="0" eaLnBrk="1" latinLnBrk="0" hangingPunct="1">
        <a:spcBef>
          <a:spcPct val="20000"/>
        </a:spcBef>
        <a:buChar char="•"/>
        <a:defRPr kumimoji="0" lang="de-DE" sz="2400">
          <a:solidFill>
            <a:schemeClr val="tx1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1pPr>
      <a:lvl2pPr marL="742950" indent="-285750" algn="l" rtl="0" eaLnBrk="1" latinLnBrk="0" hangingPunct="1">
        <a:spcBef>
          <a:spcPct val="20000"/>
        </a:spcBef>
        <a:buChar char="–"/>
        <a:defRPr kumimoji="0" lang="de-DE" sz="2400">
          <a:solidFill>
            <a:schemeClr val="tx1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2pPr>
      <a:lvl3pPr marL="1143000" indent="-228600" algn="l" rtl="0" eaLnBrk="1" latinLnBrk="0" hangingPunct="1">
        <a:spcBef>
          <a:spcPct val="20000"/>
        </a:spcBef>
        <a:buChar char="•"/>
        <a:defRPr kumimoji="0" lang="de-DE" sz="2000">
          <a:solidFill>
            <a:schemeClr val="tx1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3pPr>
      <a:lvl4pPr marL="1600200" indent="-228600" algn="l" rtl="0" eaLnBrk="1" latinLnBrk="0" hangingPunct="1">
        <a:spcBef>
          <a:spcPct val="20000"/>
        </a:spcBef>
        <a:buChar char="–"/>
        <a:defRPr kumimoji="0" lang="de-DE" sz="1800">
          <a:solidFill>
            <a:schemeClr val="tx1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4pPr>
      <a:lvl5pPr marL="2057400" indent="-228600" algn="l" rtl="0" eaLnBrk="1" latinLnBrk="0" hangingPunct="1">
        <a:spcBef>
          <a:spcPct val="20000"/>
        </a:spcBef>
        <a:buChar char="»"/>
        <a:defRPr kumimoji="0" lang="de-DE" sz="1600">
          <a:solidFill>
            <a:schemeClr val="tx1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5pPr>
      <a:lvl6pPr marL="2514600" indent="-228600" algn="l" rtl="0" eaLnBrk="1" latinLnBrk="0" hangingPunct="1">
        <a:spcBef>
          <a:spcPct val="20000"/>
        </a:spcBef>
        <a:buChar char="•"/>
        <a:defRPr kumimoji="0" lang="de-DE"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kumimoji="0" lang="de-DE"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kumimoji="0" lang="de-DE"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kumimoji="0" lang="de-DE"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lang="de-DE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lang="de-DE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lang="de-DE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lang="de-DE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lang="de-DE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lang="de-DE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lang="de-DE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lang="de-DE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lang="de-DE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roth.michael@bluewin.ch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>
            <a:spLocks noGrp="1"/>
          </p:cNvSpPr>
          <p:nvPr>
            <p:ph type="body" sz="quarter" idx="10"/>
          </p:nvPr>
        </p:nvSpPr>
        <p:spPr>
          <a:xfrm>
            <a:off x="-180528" y="1547510"/>
            <a:ext cx="8956266" cy="1219200"/>
          </a:xfrm>
        </p:spPr>
        <p:txBody>
          <a:bodyPr/>
          <a:lstStyle/>
          <a:p>
            <a:r>
              <a:rPr lang="de-DE" sz="2800" dirty="0" smtClean="0">
                <a:ea typeface="Dotum" panose="020B0600000101010101" pitchFamily="34" charset="-127"/>
              </a:rPr>
              <a:t>Zwölf hochwertige Raritäten aus </a:t>
            </a:r>
            <a:r>
              <a:rPr lang="de-DE" sz="2800" dirty="0" err="1" smtClean="0">
                <a:ea typeface="Dotum" panose="020B0600000101010101" pitchFamily="34" charset="-127"/>
              </a:rPr>
              <a:t>Pinot</a:t>
            </a:r>
            <a:r>
              <a:rPr lang="de-DE" sz="2800" dirty="0" smtClean="0">
                <a:ea typeface="Dotum" panose="020B0600000101010101" pitchFamily="34" charset="-127"/>
              </a:rPr>
              <a:t> Noir</a:t>
            </a:r>
          </a:p>
          <a:p>
            <a:r>
              <a:rPr lang="de-DE" sz="2800" dirty="0" smtClean="0">
                <a:ea typeface="Dotum" panose="020B0600000101010101" pitchFamily="34" charset="-127"/>
              </a:rPr>
              <a:t>Köstlichkeiten des alpinen Fleischhandwerks</a:t>
            </a:r>
          </a:p>
          <a:p>
            <a:endParaRPr lang="de-DE" sz="2800" b="1" dirty="0">
              <a:latin typeface="Dotum" panose="020B0600000101010101" pitchFamily="34" charset="-127"/>
              <a:ea typeface="Dotum" panose="020B0600000101010101" pitchFamily="34" charset="-127"/>
            </a:endParaRPr>
          </a:p>
          <a:p>
            <a:r>
              <a:rPr lang="de-DE" sz="2800" dirty="0" smtClean="0">
                <a:ea typeface="Dotum" panose="020B0600000101010101" pitchFamily="34" charset="-127"/>
              </a:rPr>
              <a:t>mit Ludwig </a:t>
            </a:r>
            <a:r>
              <a:rPr lang="de-DE" sz="2800" dirty="0" err="1" smtClean="0">
                <a:ea typeface="Dotum" panose="020B0600000101010101" pitchFamily="34" charset="-127"/>
              </a:rPr>
              <a:t>Hatecke</a:t>
            </a:r>
            <a:r>
              <a:rPr lang="de-DE" sz="2800" dirty="0" smtClean="0">
                <a:ea typeface="Dotum" panose="020B0600000101010101" pitchFamily="34" charset="-127"/>
              </a:rPr>
              <a:t>, Elke und Michael Roth</a:t>
            </a:r>
          </a:p>
          <a:p>
            <a:endParaRPr lang="it-IT" sz="2800" dirty="0" smtClean="0">
              <a:ea typeface="Dotum" panose="020B0600000101010101" pitchFamily="34" charset="-127"/>
            </a:endParaRPr>
          </a:p>
          <a:p>
            <a:r>
              <a:rPr lang="it-IT" sz="2400" dirty="0" err="1" smtClean="0">
                <a:ea typeface="Dotum" panose="020B0600000101010101" pitchFamily="34" charset="-127"/>
              </a:rPr>
              <a:t>Datum</a:t>
            </a:r>
            <a:r>
              <a:rPr lang="it-IT" sz="2400" dirty="0" smtClean="0">
                <a:ea typeface="Dotum" panose="020B0600000101010101" pitchFamily="34" charset="-127"/>
              </a:rPr>
              <a:t>:</a:t>
            </a:r>
            <a:r>
              <a:rPr lang="it-IT" sz="2400" dirty="0">
                <a:ea typeface="Dotum" panose="020B0600000101010101" pitchFamily="34" charset="-127"/>
              </a:rPr>
              <a:t> </a:t>
            </a:r>
            <a:r>
              <a:rPr lang="it-IT" sz="2400" dirty="0" smtClean="0">
                <a:ea typeface="Dotum" panose="020B0600000101010101" pitchFamily="34" charset="-127"/>
              </a:rPr>
              <a:t>22. </a:t>
            </a:r>
            <a:r>
              <a:rPr lang="it-IT" sz="2400" dirty="0" err="1" smtClean="0">
                <a:ea typeface="Dotum" panose="020B0600000101010101" pitchFamily="34" charset="-127"/>
              </a:rPr>
              <a:t>Februar</a:t>
            </a:r>
            <a:r>
              <a:rPr lang="it-IT" sz="2400" dirty="0" smtClean="0">
                <a:ea typeface="Dotum" panose="020B0600000101010101" pitchFamily="34" charset="-127"/>
              </a:rPr>
              <a:t> 2017, </a:t>
            </a:r>
            <a:r>
              <a:rPr lang="it-IT" sz="2400" dirty="0">
                <a:ea typeface="Dotum" panose="020B0600000101010101" pitchFamily="34" charset="-127"/>
              </a:rPr>
              <a:t>18:30</a:t>
            </a:r>
            <a:br>
              <a:rPr lang="it-IT" sz="2400" dirty="0">
                <a:ea typeface="Dotum" panose="020B0600000101010101" pitchFamily="34" charset="-127"/>
              </a:rPr>
            </a:br>
            <a:r>
              <a:rPr lang="it-IT" sz="2400" dirty="0" err="1" smtClean="0">
                <a:ea typeface="Dotum" panose="020B0600000101010101" pitchFamily="34" charset="-127"/>
              </a:rPr>
              <a:t>Ort</a:t>
            </a:r>
            <a:r>
              <a:rPr lang="it-IT" sz="2400" dirty="0" smtClean="0">
                <a:ea typeface="Dotum" panose="020B0600000101010101" pitchFamily="34" charset="-127"/>
              </a:rPr>
              <a:t>: Lavoratori </a:t>
            </a:r>
            <a:r>
              <a:rPr lang="it-IT" sz="2400" dirty="0">
                <a:ea typeface="Dotum" panose="020B0600000101010101" pitchFamily="34" charset="-127"/>
              </a:rPr>
              <a:t>dal GUST, </a:t>
            </a:r>
            <a:r>
              <a:rPr lang="it-IT" sz="2400" dirty="0" err="1" smtClean="0">
                <a:ea typeface="Dotum" panose="020B0600000101010101" pitchFamily="34" charset="-127"/>
              </a:rPr>
              <a:t>Scuol</a:t>
            </a:r>
            <a:endParaRPr lang="it-IT" sz="2400" dirty="0" smtClean="0">
              <a:ea typeface="Dotum" panose="020B0600000101010101" pitchFamily="34" charset="-127"/>
            </a:endParaRPr>
          </a:p>
          <a:p>
            <a:r>
              <a:rPr lang="it-IT" sz="2400" dirty="0" err="1" smtClean="0">
                <a:ea typeface="Dotum" panose="020B0600000101010101" pitchFamily="34" charset="-127"/>
              </a:rPr>
              <a:t>Kosten</a:t>
            </a:r>
            <a:r>
              <a:rPr lang="it-IT" sz="2400" dirty="0" smtClean="0">
                <a:ea typeface="Dotum" panose="020B0600000101010101" pitchFamily="34" charset="-127"/>
              </a:rPr>
              <a:t> pro </a:t>
            </a:r>
            <a:r>
              <a:rPr lang="it-IT" sz="2400" dirty="0" err="1" smtClean="0">
                <a:ea typeface="Dotum" panose="020B0600000101010101" pitchFamily="34" charset="-127"/>
              </a:rPr>
              <a:t>Person</a:t>
            </a:r>
            <a:r>
              <a:rPr lang="it-IT" sz="2400" dirty="0" smtClean="0">
                <a:ea typeface="Dotum" panose="020B0600000101010101" pitchFamily="34" charset="-127"/>
              </a:rPr>
              <a:t>: </a:t>
            </a:r>
            <a:r>
              <a:rPr lang="it-IT" sz="2400" dirty="0" err="1" smtClean="0">
                <a:ea typeface="Dotum" panose="020B0600000101010101" pitchFamily="34" charset="-127"/>
              </a:rPr>
              <a:t>Fr</a:t>
            </a:r>
            <a:r>
              <a:rPr lang="it-IT" sz="2400" dirty="0" smtClean="0">
                <a:ea typeface="Dotum" panose="020B0600000101010101" pitchFamily="34" charset="-127"/>
              </a:rPr>
              <a:t>. 100.-</a:t>
            </a:r>
            <a:endParaRPr lang="de-DE" sz="2400" dirty="0" smtClean="0">
              <a:ea typeface="Dotum" panose="020B0600000101010101" pitchFamily="34" charset="-127"/>
            </a:endParaRPr>
          </a:p>
          <a:p>
            <a:r>
              <a:rPr lang="de-DE" sz="2400" dirty="0" smtClean="0">
                <a:ea typeface="Dotum" panose="020B0600000101010101" pitchFamily="34" charset="-127"/>
              </a:rPr>
              <a:t>Anmeldung: bis 21.Februar 2017</a:t>
            </a:r>
            <a:br>
              <a:rPr lang="de-DE" sz="2400" dirty="0" smtClean="0">
                <a:ea typeface="Dotum" panose="020B0600000101010101" pitchFamily="34" charset="-127"/>
              </a:rPr>
            </a:br>
            <a:r>
              <a:rPr lang="de-DE" sz="2400" dirty="0" smtClean="0">
                <a:ea typeface="Dotum" panose="020B0600000101010101" pitchFamily="34" charset="-127"/>
              </a:rPr>
              <a:t> </a:t>
            </a:r>
            <a:r>
              <a:rPr lang="de-DE" sz="2400" dirty="0" smtClean="0">
                <a:ea typeface="Dotum" panose="020B0600000101010101" pitchFamily="34" charset="-127"/>
                <a:hlinkClick r:id="rId3"/>
              </a:rPr>
              <a:t>roth.michael@bluewin.ch</a:t>
            </a:r>
            <a:r>
              <a:rPr lang="de-DE" sz="2400" dirty="0" smtClean="0">
                <a:ea typeface="Dotum" panose="020B0600000101010101" pitchFamily="34" charset="-127"/>
              </a:rPr>
              <a:t> oder 079 260 18 65</a:t>
            </a:r>
            <a:endParaRPr lang="de-DE" sz="2400" dirty="0">
              <a:ea typeface="Dotum" panose="020B0600000101010101" pitchFamily="34" charset="-127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83793" y="535430"/>
            <a:ext cx="8298485" cy="1066800"/>
          </a:xfrm>
        </p:spPr>
        <p:txBody>
          <a:bodyPr>
            <a:normAutofit fontScale="90000"/>
          </a:bodyPr>
          <a:lstStyle/>
          <a:p>
            <a:pPr>
              <a:spcAft>
                <a:spcPts val="0"/>
              </a:spcAft>
            </a:pPr>
            <a:r>
              <a:rPr lang="de-DE" sz="4400" dirty="0" err="1" smtClean="0">
                <a:solidFill>
                  <a:schemeClr val="tx1"/>
                </a:solidFill>
                <a:effectLst/>
                <a:latin typeface="Helvetica"/>
                <a:ea typeface="Calibri"/>
                <a:cs typeface="Times New Roman"/>
              </a:rPr>
              <a:t>Sairada</a:t>
            </a:r>
            <a:r>
              <a:rPr lang="de-DE" sz="4400" dirty="0" smtClean="0">
                <a:solidFill>
                  <a:schemeClr val="tx1"/>
                </a:solidFill>
                <a:effectLst/>
                <a:latin typeface="Helvetica"/>
                <a:ea typeface="Calibri"/>
                <a:cs typeface="Times New Roman"/>
              </a:rPr>
              <a:t> </a:t>
            </a:r>
            <a:r>
              <a:rPr lang="de-DE" sz="4400" dirty="0" err="1" smtClean="0">
                <a:solidFill>
                  <a:schemeClr val="tx1"/>
                </a:solidFill>
                <a:effectLst/>
                <a:latin typeface="Helvetica"/>
                <a:ea typeface="Calibri"/>
                <a:cs typeface="Times New Roman"/>
              </a:rPr>
              <a:t>DaL</a:t>
            </a:r>
            <a:r>
              <a:rPr lang="de-DE" sz="4400" dirty="0" smtClean="0">
                <a:solidFill>
                  <a:schemeClr val="tx1"/>
                </a:solidFill>
                <a:effectLst/>
                <a:latin typeface="Helvetica"/>
                <a:ea typeface="Calibri"/>
                <a:cs typeface="Times New Roman"/>
              </a:rPr>
              <a:t> GUST</a:t>
            </a:r>
            <a:br>
              <a:rPr lang="de-DE" sz="4400" dirty="0" smtClean="0">
                <a:solidFill>
                  <a:schemeClr val="tx1"/>
                </a:solidFill>
                <a:effectLst/>
                <a:latin typeface="Helvetica"/>
                <a:ea typeface="Calibri"/>
                <a:cs typeface="Times New Roman"/>
              </a:rPr>
            </a:br>
            <a:r>
              <a:rPr lang="de-DE" sz="4400" dirty="0" smtClean="0">
                <a:solidFill>
                  <a:schemeClr val="tx1"/>
                </a:solidFill>
                <a:effectLst/>
                <a:latin typeface="Helvetica"/>
                <a:ea typeface="Calibri"/>
                <a:cs typeface="Times New Roman"/>
              </a:rPr>
              <a:t/>
            </a:r>
            <a:br>
              <a:rPr lang="de-DE" sz="4400" dirty="0" smtClean="0">
                <a:solidFill>
                  <a:schemeClr val="tx1"/>
                </a:solidFill>
                <a:effectLst/>
                <a:latin typeface="Helvetica"/>
                <a:ea typeface="Calibri"/>
                <a:cs typeface="Times New Roman"/>
              </a:rPr>
            </a:br>
            <a:endParaRPr lang="de-CH" sz="4400" dirty="0">
              <a:solidFill>
                <a:schemeClr val="tx1"/>
              </a:solidFill>
              <a:effectLst/>
              <a:latin typeface="Calibri"/>
              <a:ea typeface="Calibri"/>
              <a:cs typeface="Times New Roman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Klassisches Fotoalbum">
  <a:themeElements>
    <a:clrScheme name="Technic">
      <a:dk1>
        <a:sysClr val="windowText" lastClr="000000"/>
      </a:dk1>
      <a:lt1>
        <a:sysClr val="window" lastClr="FFFFFF"/>
      </a:lt1>
      <a:dk2>
        <a:srgbClr val="3B3B3B"/>
      </a:dk2>
      <a:lt2>
        <a:srgbClr val="D4D2D0"/>
      </a:lt2>
      <a:accent1>
        <a:srgbClr val="6EA0B0"/>
      </a:accent1>
      <a:accent2>
        <a:srgbClr val="CCAF0A"/>
      </a:accent2>
      <a:accent3>
        <a:srgbClr val="8D89A4"/>
      </a:accent3>
      <a:accent4>
        <a:srgbClr val="748560"/>
      </a:accent4>
      <a:accent5>
        <a:srgbClr val="9E9273"/>
      </a:accent5>
      <a:accent6>
        <a:srgbClr val="7E848D"/>
      </a:accent6>
      <a:hlink>
        <a:srgbClr val="00C8C3"/>
      </a:hlink>
      <a:folHlink>
        <a:srgbClr val="A116E0"/>
      </a:folHlink>
    </a:clrScheme>
    <a:fontScheme name="Oriel">
      <a:majorFont>
        <a:latin typeface="Century Schoolbook"/>
        <a:ea typeface=""/>
        <a:cs typeface=""/>
        <a:font script="Jpan" typeface="ＭＳ Ｐ明朝"/>
        <a:font script="Hang" typeface="휴먼매직체"/>
        <a:font script="Hans" typeface="华文楷体"/>
        <a:font script="Hant" typeface="新細明體"/>
        <a:font script="Arab" typeface="Times New Roman"/>
        <a:font script="Hebr" typeface="Times New Roman"/>
        <a:font script="Thai" typeface="Kodchiang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entury Schoolbook"/>
        <a:ea typeface=""/>
        <a:cs typeface=""/>
        <a:font script="Jpan" typeface="ＭＳ Ｐ明朝"/>
        <a:font script="Hang" typeface="휴먼매직체"/>
        <a:font script="Hans" typeface="宋体"/>
        <a:font script="Hant" typeface="新細明體"/>
        <a:font script="Arab" typeface="Times New Roman"/>
        <a:font script="Hebr" typeface="Times New Roman"/>
        <a:font script="Thai" typeface="Kodchiang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assicPhotoAlbum</Template>
  <TotalTime>0</TotalTime>
  <Words>30</Words>
  <Application>Microsoft Office PowerPoint</Application>
  <PresentationFormat>Bildschirmpräsentation (4:3)</PresentationFormat>
  <Paragraphs>10</Paragraphs>
  <Slides>1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3" baseType="lpstr">
      <vt:lpstr>Klassisches Fotoalbum</vt:lpstr>
      <vt:lpstr>think-cell Folie</vt:lpstr>
      <vt:lpstr>Sairada DaL GUST 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8-05T13:52:13Z</dcterms:created>
  <dcterms:modified xsi:type="dcterms:W3CDTF">2017-01-31T07:05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IQPDocumentId">
    <vt:lpwstr>dc7974da-71ee-4670-a330-3dfde6d32a66</vt:lpwstr>
  </property>
</Properties>
</file>